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6" r:id="rId3"/>
    <p:sldId id="289" r:id="rId4"/>
    <p:sldId id="296" r:id="rId5"/>
    <p:sldId id="258" r:id="rId6"/>
    <p:sldId id="270" r:id="rId7"/>
    <p:sldId id="273" r:id="rId8"/>
    <p:sldId id="274" r:id="rId9"/>
    <p:sldId id="290" r:id="rId10"/>
    <p:sldId id="291" r:id="rId11"/>
    <p:sldId id="275" r:id="rId12"/>
    <p:sldId id="278" r:id="rId13"/>
    <p:sldId id="292" r:id="rId14"/>
    <p:sldId id="293" r:id="rId15"/>
    <p:sldId id="297" r:id="rId16"/>
    <p:sldId id="299" r:id="rId17"/>
    <p:sldId id="276" r:id="rId18"/>
    <p:sldId id="277" r:id="rId19"/>
    <p:sldId id="294" r:id="rId20"/>
    <p:sldId id="295" r:id="rId21"/>
    <p:sldId id="261" r:id="rId22"/>
  </p:sldIdLst>
  <p:sldSz cx="12192000" cy="6858000"/>
  <p:notesSz cx="6858000" cy="9144000"/>
  <p:custDataLst>
    <p:tags r:id="rId2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E8FF"/>
    <a:srgbClr val="FFEED5"/>
    <a:srgbClr val="FFC97D"/>
    <a:srgbClr val="90B5FE"/>
    <a:srgbClr val="013CB3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4983" autoAdjust="0"/>
    <p:restoredTop sz="95970" autoAdjust="0"/>
  </p:normalViewPr>
  <p:slideViewPr>
    <p:cSldViewPr snapToGrid="0">
      <p:cViewPr varScale="1">
        <p:scale>
          <a:sx n="70" d="100"/>
          <a:sy n="70" d="100"/>
        </p:scale>
        <p:origin x="-744" y="-108"/>
      </p:cViewPr>
      <p:guideLst>
        <p:guide orient="horz" pos="212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8" Type="http://schemas.openxmlformats.org/officeDocument/2006/relationships/tags" Target="tags/tag8.xml"/><Relationship Id="rId27" Type="http://schemas.openxmlformats.org/officeDocument/2006/relationships/tableStyles" Target="tableStyles.xml"/><Relationship Id="rId26" Type="http://schemas.openxmlformats.org/officeDocument/2006/relationships/viewProps" Target="viewProps.xml"/><Relationship Id="rId25" Type="http://schemas.openxmlformats.org/officeDocument/2006/relationships/presProps" Target="presProps.xml"/><Relationship Id="rId24" Type="http://schemas.openxmlformats.org/officeDocument/2006/relationships/handoutMaster" Target="handoutMasters/handoutMaster1.xml"/><Relationship Id="rId23" Type="http://schemas.openxmlformats.org/officeDocument/2006/relationships/notesMaster" Target="notesMasters/notesMaster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1ïdê"/>
          <p:cNvSpPr/>
          <p:nvPr userDrawn="1"/>
        </p:nvSpPr>
        <p:spPr>
          <a:xfrm>
            <a:off x="0" y="3214811"/>
            <a:ext cx="12191999" cy="3025651"/>
          </a:xfrm>
          <a:prstGeom prst="rect">
            <a:avLst/>
          </a:prstGeom>
          <a:solidFill>
            <a:srgbClr val="DD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673099" y="5631878"/>
            <a:ext cx="7181303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673099" y="2784331"/>
            <a:ext cx="7181303" cy="284754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grpSp>
        <p:nvGrpSpPr>
          <p:cNvPr id="7" name="组合 6"/>
          <p:cNvGrpSpPr/>
          <p:nvPr/>
        </p:nvGrpSpPr>
        <p:grpSpPr>
          <a:xfrm>
            <a:off x="6613687" y="435429"/>
            <a:ext cx="5156847" cy="6422571"/>
            <a:chOff x="4799728" y="1130300"/>
            <a:chExt cx="3634842" cy="4526998"/>
          </a:xfrm>
        </p:grpSpPr>
        <p:sp>
          <p:nvSpPr>
            <p:cNvPr id="11" name="ïş1ïḓe"/>
            <p:cNvSpPr/>
            <p:nvPr/>
          </p:nvSpPr>
          <p:spPr>
            <a:xfrm>
              <a:off x="7491718" y="1130300"/>
              <a:ext cx="942852" cy="2278559"/>
            </a:xfrm>
            <a:custGeom>
              <a:avLst/>
              <a:gdLst>
                <a:gd name="connsiteX0" fmla="*/ 531664 w 942851"/>
                <a:gd name="connsiteY0" fmla="*/ 0 h 2278558"/>
                <a:gd name="connsiteX1" fmla="*/ 0 w 942851"/>
                <a:gd name="connsiteY1" fmla="*/ 2289035 h 2278558"/>
                <a:gd name="connsiteX2" fmla="*/ 907495 w 942851"/>
                <a:gd name="connsiteY2" fmla="*/ 1250588 h 2278558"/>
                <a:gd name="connsiteX3" fmla="*/ 531664 w 942851"/>
                <a:gd name="connsiteY3" fmla="*/ 0 h 2278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2851" h="2278558">
                  <a:moveTo>
                    <a:pt x="531664" y="0"/>
                  </a:moveTo>
                  <a:lnTo>
                    <a:pt x="0" y="2289035"/>
                  </a:lnTo>
                  <a:cubicBezTo>
                    <a:pt x="0" y="2289035"/>
                    <a:pt x="709758" y="2260226"/>
                    <a:pt x="907495" y="1250588"/>
                  </a:cubicBezTo>
                  <a:cubicBezTo>
                    <a:pt x="1101304" y="271070"/>
                    <a:pt x="531664" y="0"/>
                    <a:pt x="531664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ş1îḓé"/>
            <p:cNvSpPr/>
            <p:nvPr/>
          </p:nvSpPr>
          <p:spPr>
            <a:xfrm>
              <a:off x="5239350" y="3331493"/>
              <a:ext cx="327379" cy="130952"/>
            </a:xfrm>
            <a:custGeom>
              <a:avLst/>
              <a:gdLst>
                <a:gd name="connsiteX0" fmla="*/ 0 w 327379"/>
                <a:gd name="connsiteY0" fmla="*/ 134984 h 130951"/>
                <a:gd name="connsiteX1" fmla="*/ 132261 w 327379"/>
                <a:gd name="connsiteY1" fmla="*/ 11890 h 130951"/>
                <a:gd name="connsiteX2" fmla="*/ 336546 w 327379"/>
                <a:gd name="connsiteY2" fmla="*/ 134984 h 130951"/>
                <a:gd name="connsiteX3" fmla="*/ 168928 w 327379"/>
                <a:gd name="connsiteY3" fmla="*/ 134984 h 130951"/>
                <a:gd name="connsiteX4" fmla="*/ 182023 w 327379"/>
                <a:gd name="connsiteY4" fmla="*/ 79985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379" h="130951">
                  <a:moveTo>
                    <a:pt x="0" y="134984"/>
                  </a:moveTo>
                  <a:cubicBezTo>
                    <a:pt x="0" y="134984"/>
                    <a:pt x="37976" y="42009"/>
                    <a:pt x="132261" y="11890"/>
                  </a:cubicBezTo>
                  <a:cubicBezTo>
                    <a:pt x="225237" y="-18229"/>
                    <a:pt x="340474" y="4033"/>
                    <a:pt x="336546" y="134984"/>
                  </a:cubicBezTo>
                  <a:lnTo>
                    <a:pt x="168928" y="134984"/>
                  </a:lnTo>
                  <a:cubicBezTo>
                    <a:pt x="168928" y="134984"/>
                    <a:pt x="149285" y="98318"/>
                    <a:pt x="182023" y="79985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íṡ1íḑè"/>
            <p:cNvSpPr/>
            <p:nvPr/>
          </p:nvSpPr>
          <p:spPr>
            <a:xfrm>
              <a:off x="5552096" y="3158427"/>
              <a:ext cx="366665" cy="301189"/>
            </a:xfrm>
            <a:custGeom>
              <a:avLst/>
              <a:gdLst>
                <a:gd name="connsiteX0" fmla="*/ 321060 w 366664"/>
                <a:gd name="connsiteY0" fmla="*/ 309360 h 301188"/>
                <a:gd name="connsiteX1" fmla="*/ 304036 w 366664"/>
                <a:gd name="connsiteY1" fmla="*/ 50075 h 301188"/>
                <a:gd name="connsiteX2" fmla="*/ 61775 w 366664"/>
                <a:gd name="connsiteY2" fmla="*/ 272693 h 301188"/>
                <a:gd name="connsiteX3" fmla="*/ 150822 w 366664"/>
                <a:gd name="connsiteY3" fmla="*/ 161384 h 30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6664" h="301188">
                  <a:moveTo>
                    <a:pt x="321060" y="309360"/>
                  </a:moveTo>
                  <a:cubicBezTo>
                    <a:pt x="321060" y="309360"/>
                    <a:pt x="454630" y="179718"/>
                    <a:pt x="304036" y="50075"/>
                  </a:cubicBezTo>
                  <a:cubicBezTo>
                    <a:pt x="122013" y="-107066"/>
                    <a:pt x="-113700" y="144361"/>
                    <a:pt x="61775" y="272693"/>
                  </a:cubicBezTo>
                  <a:cubicBezTo>
                    <a:pt x="170465" y="352574"/>
                    <a:pt x="254274" y="196741"/>
                    <a:pt x="150822" y="16138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îṥḻiḍê"/>
            <p:cNvSpPr/>
            <p:nvPr/>
          </p:nvSpPr>
          <p:spPr>
            <a:xfrm>
              <a:off x="5856132" y="3091595"/>
              <a:ext cx="392855" cy="340474"/>
            </a:xfrm>
            <a:custGeom>
              <a:avLst/>
              <a:gdLst>
                <a:gd name="connsiteX0" fmla="*/ 0 w 392854"/>
                <a:gd name="connsiteY0" fmla="*/ 115598 h 340474"/>
                <a:gd name="connsiteX1" fmla="*/ 208213 w 392854"/>
                <a:gd name="connsiteY1" fmla="*/ 361 h 340474"/>
                <a:gd name="connsiteX2" fmla="*/ 383688 w 392854"/>
                <a:gd name="connsiteY2" fmla="*/ 267502 h 340474"/>
                <a:gd name="connsiteX3" fmla="*/ 210832 w 392854"/>
                <a:gd name="connsiteY3" fmla="*/ 306788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854" h="340474">
                  <a:moveTo>
                    <a:pt x="0" y="115598"/>
                  </a:moveTo>
                  <a:cubicBezTo>
                    <a:pt x="0" y="115598"/>
                    <a:pt x="51071" y="-7496"/>
                    <a:pt x="208213" y="361"/>
                  </a:cubicBezTo>
                  <a:cubicBezTo>
                    <a:pt x="365355" y="8218"/>
                    <a:pt x="426902" y="161431"/>
                    <a:pt x="383688" y="267502"/>
                  </a:cubicBezTo>
                  <a:cubicBezTo>
                    <a:pt x="340474" y="373573"/>
                    <a:pt x="214761" y="374882"/>
                    <a:pt x="210832" y="306788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iṥḷiḑè"/>
            <p:cNvSpPr/>
            <p:nvPr/>
          </p:nvSpPr>
          <p:spPr>
            <a:xfrm>
              <a:off x="6068274" y="3266121"/>
              <a:ext cx="78571" cy="13095"/>
            </a:xfrm>
            <a:custGeom>
              <a:avLst/>
              <a:gdLst>
                <a:gd name="connsiteX0" fmla="*/ 79880 w 78570"/>
                <a:gd name="connsiteY0" fmla="*/ 0 h 13095"/>
                <a:gd name="connsiteX1" fmla="*/ 0 w 78570"/>
                <a:gd name="connsiteY1" fmla="*/ 22262 h 13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13095">
                  <a:moveTo>
                    <a:pt x="79880" y="0"/>
                  </a:moveTo>
                  <a:cubicBezTo>
                    <a:pt x="79880" y="0"/>
                    <a:pt x="41904" y="27500"/>
                    <a:pt x="0" y="2226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ṥḻíḑé"/>
            <p:cNvSpPr/>
            <p:nvPr/>
          </p:nvSpPr>
          <p:spPr>
            <a:xfrm>
              <a:off x="6053869" y="3179693"/>
              <a:ext cx="13095" cy="209523"/>
            </a:xfrm>
            <a:custGeom>
              <a:avLst/>
              <a:gdLst>
                <a:gd name="connsiteX0" fmla="*/ 0 w 13095"/>
                <a:gd name="connsiteY0" fmla="*/ 0 h 209522"/>
                <a:gd name="connsiteX1" fmla="*/ 11786 w 13095"/>
                <a:gd name="connsiteY1" fmla="*/ 218689 h 20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" h="209522">
                  <a:moveTo>
                    <a:pt x="0" y="0"/>
                  </a:moveTo>
                  <a:cubicBezTo>
                    <a:pt x="0" y="0"/>
                    <a:pt x="23571" y="117856"/>
                    <a:pt x="11786" y="218689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ïsḷiďê"/>
            <p:cNvSpPr/>
            <p:nvPr/>
          </p:nvSpPr>
          <p:spPr>
            <a:xfrm>
              <a:off x="6252121" y="3110277"/>
              <a:ext cx="340474" cy="353569"/>
            </a:xfrm>
            <a:custGeom>
              <a:avLst/>
              <a:gdLst>
                <a:gd name="connsiteX0" fmla="*/ 353055 w 340474"/>
                <a:gd name="connsiteY0" fmla="*/ 106083 h 353569"/>
                <a:gd name="connsiteX1" fmla="*/ 185437 w 340474"/>
                <a:gd name="connsiteY1" fmla="*/ 12 h 353569"/>
                <a:gd name="connsiteX2" fmla="*/ 37461 w 340474"/>
                <a:gd name="connsiteY2" fmla="*/ 289415 h 353569"/>
                <a:gd name="connsiteX3" fmla="*/ 287579 w 340474"/>
                <a:gd name="connsiteY3" fmla="*/ 250130 h 353569"/>
                <a:gd name="connsiteX4" fmla="*/ 122580 w 340474"/>
                <a:gd name="connsiteY4" fmla="*/ 213463 h 35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474" h="353569">
                  <a:moveTo>
                    <a:pt x="353055" y="106083"/>
                  </a:moveTo>
                  <a:cubicBezTo>
                    <a:pt x="353055" y="106083"/>
                    <a:pt x="312460" y="-1298"/>
                    <a:pt x="185437" y="12"/>
                  </a:cubicBezTo>
                  <a:cubicBezTo>
                    <a:pt x="36152" y="1321"/>
                    <a:pt x="-55514" y="159773"/>
                    <a:pt x="37461" y="289415"/>
                  </a:cubicBezTo>
                  <a:cubicBezTo>
                    <a:pt x="122580" y="407272"/>
                    <a:pt x="287579" y="357510"/>
                    <a:pt x="287579" y="250130"/>
                  </a:cubicBezTo>
                  <a:cubicBezTo>
                    <a:pt x="287579" y="104773"/>
                    <a:pt x="134366" y="99535"/>
                    <a:pt x="122580" y="213463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îs1iḓê"/>
            <p:cNvSpPr/>
            <p:nvPr/>
          </p:nvSpPr>
          <p:spPr>
            <a:xfrm>
              <a:off x="6628486" y="3332240"/>
              <a:ext cx="170237" cy="104761"/>
            </a:xfrm>
            <a:custGeom>
              <a:avLst/>
              <a:gdLst>
                <a:gd name="connsiteX0" fmla="*/ 261 w 170237"/>
                <a:gd name="connsiteY0" fmla="*/ 111976 h 104761"/>
                <a:gd name="connsiteX1" fmla="*/ 81451 w 170237"/>
                <a:gd name="connsiteY1" fmla="*/ 667 h 104761"/>
                <a:gd name="connsiteX2" fmla="*/ 179665 w 170237"/>
                <a:gd name="connsiteY2" fmla="*/ 56976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237" h="104761">
                  <a:moveTo>
                    <a:pt x="261" y="111976"/>
                  </a:moveTo>
                  <a:cubicBezTo>
                    <a:pt x="261" y="111976"/>
                    <a:pt x="-8906" y="11143"/>
                    <a:pt x="81451" y="667"/>
                  </a:cubicBezTo>
                  <a:cubicBezTo>
                    <a:pt x="149546" y="-7190"/>
                    <a:pt x="179665" y="56976"/>
                    <a:pt x="179665" y="56976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íṡḻïdé"/>
            <p:cNvSpPr/>
            <p:nvPr/>
          </p:nvSpPr>
          <p:spPr>
            <a:xfrm>
              <a:off x="6897348" y="3216353"/>
              <a:ext cx="392855" cy="248808"/>
            </a:xfrm>
            <a:custGeom>
              <a:avLst/>
              <a:gdLst>
                <a:gd name="connsiteX0" fmla="*/ 397943 w 392854"/>
                <a:gd name="connsiteY0" fmla="*/ 244886 h 248808"/>
                <a:gd name="connsiteX1" fmla="*/ 193658 w 392854"/>
                <a:gd name="connsiteY1" fmla="*/ 7 h 248808"/>
                <a:gd name="connsiteX2" fmla="*/ 53540 w 392854"/>
                <a:gd name="connsiteY2" fmla="*/ 250124 h 248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2854" h="248808">
                  <a:moveTo>
                    <a:pt x="397943" y="244886"/>
                  </a:moveTo>
                  <a:cubicBezTo>
                    <a:pt x="418895" y="183339"/>
                    <a:pt x="369134" y="-1303"/>
                    <a:pt x="193658" y="7"/>
                  </a:cubicBezTo>
                  <a:cubicBezTo>
                    <a:pt x="-35507" y="1316"/>
                    <a:pt x="-31578" y="227863"/>
                    <a:pt x="53540" y="25012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ïṧľiḑè"/>
            <p:cNvSpPr/>
            <p:nvPr/>
          </p:nvSpPr>
          <p:spPr>
            <a:xfrm>
              <a:off x="6522676" y="3196282"/>
              <a:ext cx="379760" cy="104761"/>
            </a:xfrm>
            <a:custGeom>
              <a:avLst/>
              <a:gdLst>
                <a:gd name="connsiteX0" fmla="*/ 0 w 379759"/>
                <a:gd name="connsiteY0" fmla="*/ 92101 h 104761"/>
                <a:gd name="connsiteX1" fmla="*/ 182023 w 379759"/>
                <a:gd name="connsiteY1" fmla="*/ 1744 h 104761"/>
                <a:gd name="connsiteX2" fmla="*/ 388926 w 379759"/>
                <a:gd name="connsiteY2" fmla="*/ 115672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759" h="104761">
                  <a:moveTo>
                    <a:pt x="0" y="92101"/>
                  </a:moveTo>
                  <a:cubicBezTo>
                    <a:pt x="0" y="92101"/>
                    <a:pt x="45833" y="18768"/>
                    <a:pt x="182023" y="1744"/>
                  </a:cubicBezTo>
                  <a:cubicBezTo>
                    <a:pt x="340474" y="-16589"/>
                    <a:pt x="388926" y="115672"/>
                    <a:pt x="388926" y="11567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íşľîḋè"/>
            <p:cNvSpPr/>
            <p:nvPr/>
          </p:nvSpPr>
          <p:spPr>
            <a:xfrm>
              <a:off x="7039935" y="3331597"/>
              <a:ext cx="39285" cy="117856"/>
            </a:xfrm>
            <a:custGeom>
              <a:avLst/>
              <a:gdLst>
                <a:gd name="connsiteX0" fmla="*/ 0 w 39285"/>
                <a:gd name="connsiteY0" fmla="*/ 0 h 117856"/>
                <a:gd name="connsiteX1" fmla="*/ 37976 w 39285"/>
                <a:gd name="connsiteY1" fmla="*/ 128332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 h="117856">
                  <a:moveTo>
                    <a:pt x="0" y="0"/>
                  </a:moveTo>
                  <a:cubicBezTo>
                    <a:pt x="0" y="0"/>
                    <a:pt x="81190" y="17024"/>
                    <a:pt x="37976" y="12833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îšḷîḍè"/>
            <p:cNvSpPr/>
            <p:nvPr/>
          </p:nvSpPr>
          <p:spPr>
            <a:xfrm>
              <a:off x="7091006" y="3323740"/>
              <a:ext cx="52381" cy="52381"/>
            </a:xfrm>
            <a:custGeom>
              <a:avLst/>
              <a:gdLst>
                <a:gd name="connsiteX0" fmla="*/ 60238 w 52380"/>
                <a:gd name="connsiteY0" fmla="*/ 0 h 52380"/>
                <a:gd name="connsiteX1" fmla="*/ 0 w 52380"/>
                <a:gd name="connsiteY1" fmla="*/ 62857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 h="52380">
                  <a:moveTo>
                    <a:pt x="60238" y="0"/>
                  </a:moveTo>
                  <a:cubicBezTo>
                    <a:pt x="60238" y="0"/>
                    <a:pt x="51071" y="51071"/>
                    <a:pt x="0" y="62857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îŝļiḑè"/>
            <p:cNvSpPr/>
            <p:nvPr/>
          </p:nvSpPr>
          <p:spPr>
            <a:xfrm>
              <a:off x="6833031" y="2752791"/>
              <a:ext cx="13095" cy="340474"/>
            </a:xfrm>
            <a:custGeom>
              <a:avLst/>
              <a:gdLst>
                <a:gd name="connsiteX0" fmla="*/ 0 w 0"/>
                <a:gd name="connsiteY0" fmla="*/ 0 h 340474"/>
                <a:gd name="connsiteX1" fmla="*/ 0 w 0"/>
                <a:gd name="connsiteY1" fmla="*/ 344403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40474">
                  <a:moveTo>
                    <a:pt x="0" y="0"/>
                  </a:moveTo>
                  <a:lnTo>
                    <a:pt x="0" y="344403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ïsḻïḓe"/>
            <p:cNvSpPr/>
            <p:nvPr/>
          </p:nvSpPr>
          <p:spPr>
            <a:xfrm>
              <a:off x="6661485" y="2924338"/>
              <a:ext cx="340474" cy="13095"/>
            </a:xfrm>
            <a:custGeom>
              <a:avLst/>
              <a:gdLst>
                <a:gd name="connsiteX0" fmla="*/ 343093 w 340474"/>
                <a:gd name="connsiteY0" fmla="*/ 2619 h 0"/>
                <a:gd name="connsiteX1" fmla="*/ 0 w 34047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474">
                  <a:moveTo>
                    <a:pt x="343093" y="2619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îṥľíḑê"/>
            <p:cNvSpPr/>
            <p:nvPr/>
          </p:nvSpPr>
          <p:spPr>
            <a:xfrm>
              <a:off x="5408277" y="2655887"/>
              <a:ext cx="13095" cy="235713"/>
            </a:xfrm>
            <a:custGeom>
              <a:avLst/>
              <a:gdLst>
                <a:gd name="connsiteX0" fmla="*/ 0 w 0"/>
                <a:gd name="connsiteY0" fmla="*/ 0 h 235712"/>
                <a:gd name="connsiteX1" fmla="*/ 0 w 0"/>
                <a:gd name="connsiteY1" fmla="*/ 243570 h 23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35712">
                  <a:moveTo>
                    <a:pt x="0" y="0"/>
                  </a:moveTo>
                  <a:lnTo>
                    <a:pt x="0" y="24357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iṧľíḑe"/>
            <p:cNvSpPr/>
            <p:nvPr/>
          </p:nvSpPr>
          <p:spPr>
            <a:xfrm>
              <a:off x="5287802" y="2776362"/>
              <a:ext cx="235713" cy="13095"/>
            </a:xfrm>
            <a:custGeom>
              <a:avLst/>
              <a:gdLst>
                <a:gd name="connsiteX0" fmla="*/ 242261 w 235712"/>
                <a:gd name="connsiteY0" fmla="*/ 2619 h 0"/>
                <a:gd name="connsiteX1" fmla="*/ 0 w 23571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712">
                  <a:moveTo>
                    <a:pt x="242261" y="2619"/>
                  </a:moveTo>
                  <a:lnTo>
                    <a:pt x="0" y="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íşḻïḑê"/>
            <p:cNvSpPr/>
            <p:nvPr/>
          </p:nvSpPr>
          <p:spPr>
            <a:xfrm>
              <a:off x="5232802" y="3076241"/>
              <a:ext cx="117856" cy="117856"/>
            </a:xfrm>
            <a:custGeom>
              <a:avLst/>
              <a:gdLst>
                <a:gd name="connsiteX0" fmla="*/ 117856 w 117856"/>
                <a:gd name="connsiteY0" fmla="*/ 58928 h 117856"/>
                <a:gd name="connsiteX1" fmla="*/ 58928 w 117856"/>
                <a:gd name="connsiteY1" fmla="*/ 0 h 117856"/>
                <a:gd name="connsiteX2" fmla="*/ 0 w 117856"/>
                <a:gd name="connsiteY2" fmla="*/ 58928 h 117856"/>
                <a:gd name="connsiteX3" fmla="*/ 58928 w 117856"/>
                <a:gd name="connsiteY3" fmla="*/ 117856 h 117856"/>
                <a:gd name="connsiteX4" fmla="*/ 117856 w 117856"/>
                <a:gd name="connsiteY4" fmla="*/ 58928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856" h="117856">
                  <a:moveTo>
                    <a:pt x="117856" y="58928"/>
                  </a:moveTo>
                  <a:cubicBezTo>
                    <a:pt x="117856" y="26190"/>
                    <a:pt x="91666" y="0"/>
                    <a:pt x="58928" y="0"/>
                  </a:cubicBezTo>
                  <a:cubicBezTo>
                    <a:pt x="26190" y="0"/>
                    <a:pt x="0" y="26190"/>
                    <a:pt x="0" y="58928"/>
                  </a:cubicBezTo>
                  <a:cubicBezTo>
                    <a:pt x="0" y="91666"/>
                    <a:pt x="26190" y="117856"/>
                    <a:pt x="58928" y="117856"/>
                  </a:cubicBezTo>
                  <a:cubicBezTo>
                    <a:pt x="91666" y="117856"/>
                    <a:pt x="117856" y="91666"/>
                    <a:pt x="117856" y="58928"/>
                  </a:cubicBezTo>
                  <a:close/>
                </a:path>
              </a:pathLst>
            </a:custGeom>
            <a:noFill/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išḻîḋè"/>
            <p:cNvSpPr/>
            <p:nvPr/>
          </p:nvSpPr>
          <p:spPr>
            <a:xfrm>
              <a:off x="7122434" y="2654577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10 w 0"/>
                <a:gd name="connsiteY1" fmla="*/ 39286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10" y="39286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ïšliḋé"/>
            <p:cNvSpPr/>
            <p:nvPr/>
          </p:nvSpPr>
          <p:spPr>
            <a:xfrm>
              <a:off x="7125053" y="2747553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09 w 0"/>
                <a:gd name="connsiteY1" fmla="*/ 39285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09" y="39285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íṣlídé"/>
            <p:cNvSpPr/>
            <p:nvPr/>
          </p:nvSpPr>
          <p:spPr>
            <a:xfrm>
              <a:off x="7151244" y="2718743"/>
              <a:ext cx="39285" cy="13095"/>
            </a:xfrm>
            <a:custGeom>
              <a:avLst/>
              <a:gdLst>
                <a:gd name="connsiteX0" fmla="*/ 39286 w 39285"/>
                <a:gd name="connsiteY0" fmla="*/ 0 h 0"/>
                <a:gd name="connsiteX1" fmla="*/ 0 w 3928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6" y="0"/>
                  </a:moveTo>
                  <a:lnTo>
                    <a:pt x="0" y="1310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ï$ľïḍé"/>
            <p:cNvSpPr/>
            <p:nvPr/>
          </p:nvSpPr>
          <p:spPr>
            <a:xfrm>
              <a:off x="7058268" y="2721362"/>
              <a:ext cx="39285" cy="13095"/>
            </a:xfrm>
            <a:custGeom>
              <a:avLst/>
              <a:gdLst>
                <a:gd name="connsiteX0" fmla="*/ 39285 w 39285"/>
                <a:gd name="connsiteY0" fmla="*/ 0 h 0"/>
                <a:gd name="connsiteX1" fmla="*/ 0 w 39285"/>
                <a:gd name="connsiteY1" fmla="*/ 13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5" y="0"/>
                  </a:moveTo>
                  <a:lnTo>
                    <a:pt x="0" y="1309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ï$1îḑé"/>
            <p:cNvSpPr/>
            <p:nvPr/>
          </p:nvSpPr>
          <p:spPr>
            <a:xfrm>
              <a:off x="5742204" y="2792076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130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130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íşļiḓê"/>
            <p:cNvSpPr/>
            <p:nvPr/>
          </p:nvSpPr>
          <p:spPr>
            <a:xfrm>
              <a:off x="5744823" y="2943980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261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261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iSliḍé"/>
            <p:cNvSpPr/>
            <p:nvPr/>
          </p:nvSpPr>
          <p:spPr>
            <a:xfrm>
              <a:off x="5788037" y="2898147"/>
              <a:ext cx="52381" cy="13095"/>
            </a:xfrm>
            <a:custGeom>
              <a:avLst/>
              <a:gdLst>
                <a:gd name="connsiteX0" fmla="*/ 64166 w 52380"/>
                <a:gd name="connsiteY0" fmla="*/ 0 h 0"/>
                <a:gd name="connsiteX1" fmla="*/ 0 w 52380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>
                  <a:moveTo>
                    <a:pt x="6416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îşļïde"/>
            <p:cNvSpPr/>
            <p:nvPr/>
          </p:nvSpPr>
          <p:spPr>
            <a:xfrm>
              <a:off x="5636133" y="2900766"/>
              <a:ext cx="65476" cy="13095"/>
            </a:xfrm>
            <a:custGeom>
              <a:avLst/>
              <a:gdLst>
                <a:gd name="connsiteX0" fmla="*/ 65476 w 65475"/>
                <a:gd name="connsiteY0" fmla="*/ 0 h 0"/>
                <a:gd name="connsiteX1" fmla="*/ 0 w 6547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475">
                  <a:moveTo>
                    <a:pt x="6547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ï$ḻídè"/>
            <p:cNvSpPr/>
            <p:nvPr/>
          </p:nvSpPr>
          <p:spPr>
            <a:xfrm>
              <a:off x="7212733" y="2994993"/>
              <a:ext cx="91666" cy="91666"/>
            </a:xfrm>
            <a:custGeom>
              <a:avLst/>
              <a:gdLst>
                <a:gd name="connsiteX0" fmla="*/ 96962 w 91666"/>
                <a:gd name="connsiteY0" fmla="*/ 47201 h 91666"/>
                <a:gd name="connsiteX1" fmla="*/ 47201 w 91666"/>
                <a:gd name="connsiteY1" fmla="*/ 58 h 91666"/>
                <a:gd name="connsiteX2" fmla="*/ 58 w 91666"/>
                <a:gd name="connsiteY2" fmla="*/ 49820 h 91666"/>
                <a:gd name="connsiteX3" fmla="*/ 49820 w 91666"/>
                <a:gd name="connsiteY3" fmla="*/ 96963 h 91666"/>
                <a:gd name="connsiteX4" fmla="*/ 96962 w 91666"/>
                <a:gd name="connsiteY4" fmla="*/ 47201 h 91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66" h="91666">
                  <a:moveTo>
                    <a:pt x="96962" y="47201"/>
                  </a:moveTo>
                  <a:cubicBezTo>
                    <a:pt x="95653" y="19701"/>
                    <a:pt x="73391" y="-1251"/>
                    <a:pt x="47201" y="58"/>
                  </a:cubicBezTo>
                  <a:cubicBezTo>
                    <a:pt x="19701" y="1368"/>
                    <a:pt x="-1251" y="23630"/>
                    <a:pt x="58" y="49820"/>
                  </a:cubicBezTo>
                  <a:cubicBezTo>
                    <a:pt x="1368" y="77320"/>
                    <a:pt x="23630" y="98272"/>
                    <a:pt x="49820" y="96963"/>
                  </a:cubicBezTo>
                  <a:cubicBezTo>
                    <a:pt x="76010" y="96963"/>
                    <a:pt x="98272" y="74701"/>
                    <a:pt x="96962" y="47201"/>
                  </a:cubicBezTo>
                  <a:close/>
                </a:path>
              </a:pathLst>
            </a:custGeom>
            <a:noFill/>
            <a:ln w="38196" cap="rnd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ísľíḑe"/>
            <p:cNvSpPr/>
            <p:nvPr/>
          </p:nvSpPr>
          <p:spPr>
            <a:xfrm>
              <a:off x="5926846" y="3336835"/>
              <a:ext cx="130952" cy="130952"/>
            </a:xfrm>
            <a:custGeom>
              <a:avLst/>
              <a:gdLst>
                <a:gd name="connsiteX0" fmla="*/ 140118 w 130951"/>
                <a:gd name="connsiteY0" fmla="*/ 130952 h 130951"/>
                <a:gd name="connsiteX1" fmla="*/ 0 w 130951"/>
                <a:gd name="connsiteY1" fmla="*/ 0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1" h="130951">
                  <a:moveTo>
                    <a:pt x="140118" y="130952"/>
                  </a:moveTo>
                  <a:cubicBezTo>
                    <a:pt x="140118" y="130952"/>
                    <a:pt x="127023" y="0"/>
                    <a:pt x="0" y="0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íṩlîḑè"/>
            <p:cNvSpPr/>
            <p:nvPr/>
          </p:nvSpPr>
          <p:spPr>
            <a:xfrm>
              <a:off x="5830723" y="1628929"/>
              <a:ext cx="890471" cy="1113089"/>
            </a:xfrm>
            <a:custGeom>
              <a:avLst/>
              <a:gdLst>
                <a:gd name="connsiteX0" fmla="*/ 898856 w 890471"/>
                <a:gd name="connsiteY0" fmla="*/ 449461 h 1113088"/>
                <a:gd name="connsiteX1" fmla="*/ 431359 w 890471"/>
                <a:gd name="connsiteY1" fmla="*/ 297 h 1113088"/>
                <a:gd name="connsiteX2" fmla="*/ 528 w 890471"/>
                <a:gd name="connsiteY2" fmla="*/ 427199 h 1113088"/>
                <a:gd name="connsiteX3" fmla="*/ 89575 w 890471"/>
                <a:gd name="connsiteY3" fmla="*/ 720531 h 1113088"/>
                <a:gd name="connsiteX4" fmla="*/ 233622 w 890471"/>
                <a:gd name="connsiteY4" fmla="*/ 1096362 h 1113088"/>
                <a:gd name="connsiteX5" fmla="*/ 233622 w 890471"/>
                <a:gd name="connsiteY5" fmla="*/ 1113386 h 1113088"/>
                <a:gd name="connsiteX6" fmla="*/ 664453 w 890471"/>
                <a:gd name="connsiteY6" fmla="*/ 1113386 h 1113088"/>
                <a:gd name="connsiteX7" fmla="*/ 664453 w 890471"/>
                <a:gd name="connsiteY7" fmla="*/ 1108148 h 1113088"/>
                <a:gd name="connsiteX8" fmla="*/ 804571 w 890471"/>
                <a:gd name="connsiteY8" fmla="*/ 725769 h 1113088"/>
                <a:gd name="connsiteX9" fmla="*/ 898856 w 890471"/>
                <a:gd name="connsiteY9" fmla="*/ 449461 h 11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0471" h="1113088">
                  <a:moveTo>
                    <a:pt x="898856" y="449461"/>
                  </a:moveTo>
                  <a:cubicBezTo>
                    <a:pt x="898856" y="195415"/>
                    <a:pt x="688024" y="-8870"/>
                    <a:pt x="431359" y="297"/>
                  </a:cubicBezTo>
                  <a:cubicBezTo>
                    <a:pt x="200884" y="9464"/>
                    <a:pt x="12313" y="195415"/>
                    <a:pt x="528" y="427199"/>
                  </a:cubicBezTo>
                  <a:cubicBezTo>
                    <a:pt x="-4710" y="537199"/>
                    <a:pt x="29337" y="639341"/>
                    <a:pt x="89575" y="720531"/>
                  </a:cubicBezTo>
                  <a:cubicBezTo>
                    <a:pt x="181241" y="841007"/>
                    <a:pt x="233622" y="944458"/>
                    <a:pt x="233622" y="1096362"/>
                  </a:cubicBezTo>
                  <a:lnTo>
                    <a:pt x="233622" y="1113386"/>
                  </a:lnTo>
                  <a:lnTo>
                    <a:pt x="664453" y="1113386"/>
                  </a:lnTo>
                  <a:lnTo>
                    <a:pt x="664453" y="1108148"/>
                  </a:lnTo>
                  <a:cubicBezTo>
                    <a:pt x="664453" y="954934"/>
                    <a:pt x="711595" y="847554"/>
                    <a:pt x="804571" y="725769"/>
                  </a:cubicBezTo>
                  <a:cubicBezTo>
                    <a:pt x="863499" y="648508"/>
                    <a:pt x="898856" y="552913"/>
                    <a:pt x="898856" y="449461"/>
                  </a:cubicBezTo>
                  <a:close/>
                </a:path>
              </a:pathLst>
            </a:custGeom>
            <a:solidFill>
              <a:schemeClr val="accent4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iṡḻídê"/>
            <p:cNvSpPr/>
            <p:nvPr/>
          </p:nvSpPr>
          <p:spPr>
            <a:xfrm>
              <a:off x="6066964" y="2827433"/>
              <a:ext cx="419045" cy="13095"/>
            </a:xfrm>
            <a:custGeom>
              <a:avLst/>
              <a:gdLst>
                <a:gd name="connsiteX0" fmla="*/ 0 w 419045"/>
                <a:gd name="connsiteY0" fmla="*/ 0 h 0"/>
                <a:gd name="connsiteX1" fmla="*/ 425593 w 41904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045">
                  <a:moveTo>
                    <a:pt x="0" y="0"/>
                  </a:moveTo>
                  <a:lnTo>
                    <a:pt x="42559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íŝḷîḋè"/>
            <p:cNvSpPr/>
            <p:nvPr/>
          </p:nvSpPr>
          <p:spPr>
            <a:xfrm>
              <a:off x="6148154" y="2925647"/>
              <a:ext cx="261903" cy="13095"/>
            </a:xfrm>
            <a:custGeom>
              <a:avLst/>
              <a:gdLst>
                <a:gd name="connsiteX0" fmla="*/ 0 w 261903"/>
                <a:gd name="connsiteY0" fmla="*/ 0 h 0"/>
                <a:gd name="connsiteX1" fmla="*/ 263213 w 26190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03">
                  <a:moveTo>
                    <a:pt x="0" y="0"/>
                  </a:moveTo>
                  <a:lnTo>
                    <a:pt x="26321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işliḓè"/>
            <p:cNvSpPr/>
            <p:nvPr/>
          </p:nvSpPr>
          <p:spPr>
            <a:xfrm>
              <a:off x="5520896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îsḻiḑé"/>
            <p:cNvSpPr/>
            <p:nvPr/>
          </p:nvSpPr>
          <p:spPr>
            <a:xfrm>
              <a:off x="6826484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íṧľiḓê"/>
            <p:cNvSpPr/>
            <p:nvPr/>
          </p:nvSpPr>
          <p:spPr>
            <a:xfrm>
              <a:off x="6636604" y="1559821"/>
              <a:ext cx="78571" cy="78571"/>
            </a:xfrm>
            <a:custGeom>
              <a:avLst/>
              <a:gdLst>
                <a:gd name="connsiteX0" fmla="*/ 89047 w 78570"/>
                <a:gd name="connsiteY0" fmla="*/ 0 h 78570"/>
                <a:gd name="connsiteX1" fmla="*/ 0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89047" y="0"/>
                  </a:moveTo>
                  <a:lnTo>
                    <a:pt x="0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íSlíďé"/>
            <p:cNvSpPr/>
            <p:nvPr/>
          </p:nvSpPr>
          <p:spPr>
            <a:xfrm>
              <a:off x="5856132" y="1559821"/>
              <a:ext cx="78571" cy="78571"/>
            </a:xfrm>
            <a:custGeom>
              <a:avLst/>
              <a:gdLst>
                <a:gd name="connsiteX0" fmla="*/ 0 w 78570"/>
                <a:gd name="connsiteY0" fmla="*/ 0 h 78570"/>
                <a:gd name="connsiteX1" fmla="*/ 89047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0" y="0"/>
                  </a:moveTo>
                  <a:lnTo>
                    <a:pt x="89047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iś1ïdè"/>
            <p:cNvSpPr/>
            <p:nvPr/>
          </p:nvSpPr>
          <p:spPr>
            <a:xfrm>
              <a:off x="6254225" y="1330656"/>
              <a:ext cx="13095" cy="196427"/>
            </a:xfrm>
            <a:custGeom>
              <a:avLst/>
              <a:gdLst>
                <a:gd name="connsiteX0" fmla="*/ 0 w 0"/>
                <a:gd name="connsiteY0" fmla="*/ 196427 h 196427"/>
                <a:gd name="connsiteX1" fmla="*/ 0 w 0"/>
                <a:gd name="connsiteY1" fmla="*/ 0 h 19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6427">
                  <a:moveTo>
                    <a:pt x="0" y="196427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îŝḷïḍé"/>
            <p:cNvSpPr/>
            <p:nvPr/>
          </p:nvSpPr>
          <p:spPr>
            <a:xfrm>
              <a:off x="6048631" y="2171366"/>
              <a:ext cx="144047" cy="445236"/>
            </a:xfrm>
            <a:custGeom>
              <a:avLst/>
              <a:gdLst>
                <a:gd name="connsiteX0" fmla="*/ 153213 w 144046"/>
                <a:gd name="connsiteY0" fmla="*/ 455712 h 445235"/>
                <a:gd name="connsiteX1" fmla="*/ 153213 w 144046"/>
                <a:gd name="connsiteY1" fmla="*/ 208213 h 445235"/>
                <a:gd name="connsiteX2" fmla="*/ 0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153213" y="455712"/>
                  </a:moveTo>
                  <a:lnTo>
                    <a:pt x="153213" y="208213"/>
                  </a:lnTo>
                  <a:lnTo>
                    <a:pt x="0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ïśļïďé"/>
            <p:cNvSpPr/>
            <p:nvPr/>
          </p:nvSpPr>
          <p:spPr>
            <a:xfrm>
              <a:off x="6360296" y="2171366"/>
              <a:ext cx="144047" cy="445236"/>
            </a:xfrm>
            <a:custGeom>
              <a:avLst/>
              <a:gdLst>
                <a:gd name="connsiteX0" fmla="*/ 0 w 144046"/>
                <a:gd name="connsiteY0" fmla="*/ 455712 h 445235"/>
                <a:gd name="connsiteX1" fmla="*/ 0 w 144046"/>
                <a:gd name="connsiteY1" fmla="*/ 208213 h 445235"/>
                <a:gd name="connsiteX2" fmla="*/ 153213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0" y="455712"/>
                  </a:moveTo>
                  <a:lnTo>
                    <a:pt x="0" y="208213"/>
                  </a:lnTo>
                  <a:lnTo>
                    <a:pt x="153213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íṧḷídè"/>
            <p:cNvSpPr/>
            <p:nvPr/>
          </p:nvSpPr>
          <p:spPr>
            <a:xfrm>
              <a:off x="4799728" y="3431120"/>
              <a:ext cx="2723794" cy="2226178"/>
            </a:xfrm>
            <a:custGeom>
              <a:avLst/>
              <a:gdLst>
                <a:gd name="connsiteX0" fmla="*/ 2671038 w 2723794"/>
                <a:gd name="connsiteY0" fmla="*/ 0 h 2226177"/>
                <a:gd name="connsiteX1" fmla="*/ 303432 w 2723794"/>
                <a:gd name="connsiteY1" fmla="*/ 17024 h 2226177"/>
                <a:gd name="connsiteX2" fmla="*/ 278551 w 2723794"/>
                <a:gd name="connsiteY2" fmla="*/ 310355 h 2226177"/>
                <a:gd name="connsiteX3" fmla="*/ 192123 w 2723794"/>
                <a:gd name="connsiteY3" fmla="*/ 680949 h 2226177"/>
                <a:gd name="connsiteX4" fmla="*/ 10101 w 2723794"/>
                <a:gd name="connsiteY4" fmla="*/ 1013566 h 2226177"/>
                <a:gd name="connsiteX5" fmla="*/ 209147 w 2723794"/>
                <a:gd name="connsiteY5" fmla="*/ 1196898 h 2226177"/>
                <a:gd name="connsiteX6" fmla="*/ 416051 w 2723794"/>
                <a:gd name="connsiteY6" fmla="*/ 1667015 h 2226177"/>
                <a:gd name="connsiteX7" fmla="*/ 837715 w 2723794"/>
                <a:gd name="connsiteY7" fmla="*/ 1855585 h 2226177"/>
                <a:gd name="connsiteX8" fmla="*/ 897953 w 2723794"/>
                <a:gd name="connsiteY8" fmla="*/ 2236654 h 2226177"/>
                <a:gd name="connsiteX9" fmla="*/ 2169493 w 2723794"/>
                <a:gd name="connsiteY9" fmla="*/ 2227487 h 2226177"/>
                <a:gd name="connsiteX10" fmla="*/ 2344969 w 2723794"/>
                <a:gd name="connsiteY10" fmla="*/ 1487611 h 2226177"/>
                <a:gd name="connsiteX11" fmla="*/ 2671038 w 2723794"/>
                <a:gd name="connsiteY11" fmla="*/ 0 h 2226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3794" h="2226177">
                  <a:moveTo>
                    <a:pt x="2671038" y="0"/>
                  </a:moveTo>
                  <a:lnTo>
                    <a:pt x="303432" y="17024"/>
                  </a:lnTo>
                  <a:cubicBezTo>
                    <a:pt x="303432" y="17024"/>
                    <a:pt x="270694" y="157142"/>
                    <a:pt x="278551" y="310355"/>
                  </a:cubicBezTo>
                  <a:cubicBezTo>
                    <a:pt x="286409" y="463569"/>
                    <a:pt x="261528" y="559164"/>
                    <a:pt x="192123" y="680949"/>
                  </a:cubicBezTo>
                  <a:cubicBezTo>
                    <a:pt x="122719" y="802734"/>
                    <a:pt x="-42280" y="919281"/>
                    <a:pt x="10101" y="1013566"/>
                  </a:cubicBezTo>
                  <a:cubicBezTo>
                    <a:pt x="74267" y="1131422"/>
                    <a:pt x="189504" y="1076423"/>
                    <a:pt x="209147" y="1196898"/>
                  </a:cubicBezTo>
                  <a:cubicBezTo>
                    <a:pt x="228790" y="1317373"/>
                    <a:pt x="142362" y="1643443"/>
                    <a:pt x="416051" y="1667015"/>
                  </a:cubicBezTo>
                  <a:cubicBezTo>
                    <a:pt x="570574" y="1680110"/>
                    <a:pt x="768311" y="1722014"/>
                    <a:pt x="837715" y="1855585"/>
                  </a:cubicBezTo>
                  <a:cubicBezTo>
                    <a:pt x="908429" y="1989156"/>
                    <a:pt x="897953" y="2236654"/>
                    <a:pt x="897953" y="2236654"/>
                  </a:cubicBezTo>
                  <a:lnTo>
                    <a:pt x="2169493" y="2227487"/>
                  </a:lnTo>
                  <a:cubicBezTo>
                    <a:pt x="2169493" y="2227487"/>
                    <a:pt x="2177351" y="1735110"/>
                    <a:pt x="2344969" y="1487611"/>
                  </a:cubicBezTo>
                  <a:cubicBezTo>
                    <a:pt x="2529610" y="1215231"/>
                    <a:pt x="2880561" y="769996"/>
                    <a:pt x="2671038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r>
                <a:rPr lang="en-US" altLang="zh-CN" dirty="0"/>
                <a:t> </a:t>
              </a:r>
              <a:endParaRPr lang="zh-CN" altLang="en-US" dirty="0"/>
            </a:p>
          </p:txBody>
        </p:sp>
      </p:grp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54275" y="5039338"/>
            <a:ext cx="377860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54275" y="5335609"/>
            <a:ext cx="377860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624196" y="301141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625312" y="390676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319314" y="2036404"/>
            <a:ext cx="4072838" cy="4821596"/>
            <a:chOff x="8076387" y="719679"/>
            <a:chExt cx="1691389" cy="200233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4" name="iSliḓê"/>
            <p:cNvSpPr/>
            <p:nvPr userDrawn="1"/>
          </p:nvSpPr>
          <p:spPr>
            <a:xfrm>
              <a:off x="8076387" y="1142847"/>
              <a:ext cx="1263335" cy="1579169"/>
            </a:xfrm>
            <a:custGeom>
              <a:avLst/>
              <a:gdLst>
                <a:gd name="connsiteX0" fmla="*/ 898856 w 890471"/>
                <a:gd name="connsiteY0" fmla="*/ 449461 h 1113088"/>
                <a:gd name="connsiteX1" fmla="*/ 431359 w 890471"/>
                <a:gd name="connsiteY1" fmla="*/ 297 h 1113088"/>
                <a:gd name="connsiteX2" fmla="*/ 528 w 890471"/>
                <a:gd name="connsiteY2" fmla="*/ 427199 h 1113088"/>
                <a:gd name="connsiteX3" fmla="*/ 89575 w 890471"/>
                <a:gd name="connsiteY3" fmla="*/ 720531 h 1113088"/>
                <a:gd name="connsiteX4" fmla="*/ 233622 w 890471"/>
                <a:gd name="connsiteY4" fmla="*/ 1096362 h 1113088"/>
                <a:gd name="connsiteX5" fmla="*/ 233622 w 890471"/>
                <a:gd name="connsiteY5" fmla="*/ 1113386 h 1113088"/>
                <a:gd name="connsiteX6" fmla="*/ 664453 w 890471"/>
                <a:gd name="connsiteY6" fmla="*/ 1113386 h 1113088"/>
                <a:gd name="connsiteX7" fmla="*/ 664453 w 890471"/>
                <a:gd name="connsiteY7" fmla="*/ 1108148 h 1113088"/>
                <a:gd name="connsiteX8" fmla="*/ 804571 w 890471"/>
                <a:gd name="connsiteY8" fmla="*/ 725769 h 1113088"/>
                <a:gd name="connsiteX9" fmla="*/ 898856 w 890471"/>
                <a:gd name="connsiteY9" fmla="*/ 449461 h 11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0471" h="1113088">
                  <a:moveTo>
                    <a:pt x="898856" y="449461"/>
                  </a:moveTo>
                  <a:cubicBezTo>
                    <a:pt x="898856" y="195415"/>
                    <a:pt x="688024" y="-8870"/>
                    <a:pt x="431359" y="297"/>
                  </a:cubicBezTo>
                  <a:cubicBezTo>
                    <a:pt x="200884" y="9464"/>
                    <a:pt x="12313" y="195415"/>
                    <a:pt x="528" y="427199"/>
                  </a:cubicBezTo>
                  <a:cubicBezTo>
                    <a:pt x="-4710" y="537199"/>
                    <a:pt x="29337" y="639341"/>
                    <a:pt x="89575" y="720531"/>
                  </a:cubicBezTo>
                  <a:cubicBezTo>
                    <a:pt x="181241" y="841007"/>
                    <a:pt x="233622" y="944458"/>
                    <a:pt x="233622" y="1096362"/>
                  </a:cubicBezTo>
                  <a:lnTo>
                    <a:pt x="233622" y="1113386"/>
                  </a:lnTo>
                  <a:lnTo>
                    <a:pt x="664453" y="1113386"/>
                  </a:lnTo>
                  <a:lnTo>
                    <a:pt x="664453" y="1108148"/>
                  </a:lnTo>
                  <a:cubicBezTo>
                    <a:pt x="664453" y="954934"/>
                    <a:pt x="711595" y="847554"/>
                    <a:pt x="804571" y="725769"/>
                  </a:cubicBezTo>
                  <a:cubicBezTo>
                    <a:pt x="863499" y="648508"/>
                    <a:pt x="898856" y="552913"/>
                    <a:pt x="898856" y="449461"/>
                  </a:cubicBezTo>
                  <a:close/>
                </a:path>
              </a:pathLst>
            </a:custGeom>
            <a:grpFill/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ïṣlîḓê"/>
            <p:cNvSpPr/>
            <p:nvPr userDrawn="1"/>
          </p:nvSpPr>
          <p:spPr>
            <a:xfrm>
              <a:off x="9489100" y="1622592"/>
              <a:ext cx="278676" cy="18578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îṧḻiďê"/>
            <p:cNvSpPr/>
            <p:nvPr userDrawn="1"/>
          </p:nvSpPr>
          <p:spPr>
            <a:xfrm>
              <a:off x="9219712" y="1044802"/>
              <a:ext cx="111471" cy="111471"/>
            </a:xfrm>
            <a:custGeom>
              <a:avLst/>
              <a:gdLst>
                <a:gd name="connsiteX0" fmla="*/ 89047 w 78570"/>
                <a:gd name="connsiteY0" fmla="*/ 0 h 78570"/>
                <a:gd name="connsiteX1" fmla="*/ 0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89047" y="0"/>
                  </a:moveTo>
                  <a:lnTo>
                    <a:pt x="0" y="89047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îsļiďé"/>
            <p:cNvSpPr/>
            <p:nvPr userDrawn="1"/>
          </p:nvSpPr>
          <p:spPr>
            <a:xfrm>
              <a:off x="8112435" y="1044802"/>
              <a:ext cx="111471" cy="111471"/>
            </a:xfrm>
            <a:custGeom>
              <a:avLst/>
              <a:gdLst>
                <a:gd name="connsiteX0" fmla="*/ 0 w 78570"/>
                <a:gd name="connsiteY0" fmla="*/ 0 h 78570"/>
                <a:gd name="connsiteX1" fmla="*/ 89047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0" y="0"/>
                  </a:moveTo>
                  <a:lnTo>
                    <a:pt x="89047" y="89047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ísľîḑê"/>
            <p:cNvSpPr/>
            <p:nvPr userDrawn="1"/>
          </p:nvSpPr>
          <p:spPr>
            <a:xfrm>
              <a:off x="8677221" y="719679"/>
              <a:ext cx="18578" cy="278676"/>
            </a:xfrm>
            <a:custGeom>
              <a:avLst/>
              <a:gdLst>
                <a:gd name="connsiteX0" fmla="*/ 0 w 0"/>
                <a:gd name="connsiteY0" fmla="*/ 196427 h 196427"/>
                <a:gd name="connsiteX1" fmla="*/ 0 w 0"/>
                <a:gd name="connsiteY1" fmla="*/ 0 h 19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6427">
                  <a:moveTo>
                    <a:pt x="0" y="196427"/>
                  </a:moveTo>
                  <a:lnTo>
                    <a:pt x="0" y="0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iṥlïďé"/>
            <p:cNvSpPr/>
            <p:nvPr userDrawn="1"/>
          </p:nvSpPr>
          <p:spPr>
            <a:xfrm>
              <a:off x="8385539" y="1912417"/>
              <a:ext cx="204363" cy="631668"/>
            </a:xfrm>
            <a:custGeom>
              <a:avLst/>
              <a:gdLst>
                <a:gd name="connsiteX0" fmla="*/ 153213 w 144046"/>
                <a:gd name="connsiteY0" fmla="*/ 455712 h 445235"/>
                <a:gd name="connsiteX1" fmla="*/ 153213 w 144046"/>
                <a:gd name="connsiteY1" fmla="*/ 208213 h 445235"/>
                <a:gd name="connsiteX2" fmla="*/ 0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153213" y="455712"/>
                  </a:moveTo>
                  <a:lnTo>
                    <a:pt x="153213" y="208213"/>
                  </a:lnTo>
                  <a:lnTo>
                    <a:pt x="0" y="0"/>
                  </a:lnTo>
                </a:path>
              </a:pathLst>
            </a:custGeom>
            <a:grp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îşḷiḍè"/>
            <p:cNvSpPr/>
            <p:nvPr userDrawn="1"/>
          </p:nvSpPr>
          <p:spPr>
            <a:xfrm>
              <a:off x="8827706" y="1912417"/>
              <a:ext cx="204363" cy="631668"/>
            </a:xfrm>
            <a:custGeom>
              <a:avLst/>
              <a:gdLst>
                <a:gd name="connsiteX0" fmla="*/ 0 w 144046"/>
                <a:gd name="connsiteY0" fmla="*/ 455712 h 445235"/>
                <a:gd name="connsiteX1" fmla="*/ 0 w 144046"/>
                <a:gd name="connsiteY1" fmla="*/ 208213 h 445235"/>
                <a:gd name="connsiteX2" fmla="*/ 153213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0" y="455712"/>
                  </a:moveTo>
                  <a:lnTo>
                    <a:pt x="0" y="208213"/>
                  </a:lnTo>
                  <a:lnTo>
                    <a:pt x="153213" y="0"/>
                  </a:lnTo>
                </a:path>
              </a:pathLst>
            </a:custGeom>
            <a:grp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rgbClr val="DDE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39913" y="2235120"/>
            <a:ext cx="6608595" cy="1999306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39913" y="4919152"/>
            <a:ext cx="6608595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1339915" y="4622881"/>
            <a:ext cx="660859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7" name="组合 6"/>
          <p:cNvGrpSpPr/>
          <p:nvPr userDrawn="1"/>
        </p:nvGrpSpPr>
        <p:grpSpPr>
          <a:xfrm>
            <a:off x="7648506" y="835083"/>
            <a:ext cx="3563000" cy="4437522"/>
            <a:chOff x="4799728" y="1130300"/>
            <a:chExt cx="3634842" cy="4526998"/>
          </a:xfrm>
        </p:grpSpPr>
        <p:sp>
          <p:nvSpPr>
            <p:cNvPr id="8" name="îSḻïḍè"/>
            <p:cNvSpPr/>
            <p:nvPr/>
          </p:nvSpPr>
          <p:spPr>
            <a:xfrm>
              <a:off x="7491718" y="1130300"/>
              <a:ext cx="942852" cy="2278559"/>
            </a:xfrm>
            <a:custGeom>
              <a:avLst/>
              <a:gdLst>
                <a:gd name="connsiteX0" fmla="*/ 531664 w 942851"/>
                <a:gd name="connsiteY0" fmla="*/ 0 h 2278558"/>
                <a:gd name="connsiteX1" fmla="*/ 0 w 942851"/>
                <a:gd name="connsiteY1" fmla="*/ 2289035 h 2278558"/>
                <a:gd name="connsiteX2" fmla="*/ 907495 w 942851"/>
                <a:gd name="connsiteY2" fmla="*/ 1250588 h 2278558"/>
                <a:gd name="connsiteX3" fmla="*/ 531664 w 942851"/>
                <a:gd name="connsiteY3" fmla="*/ 0 h 2278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2851" h="2278558">
                  <a:moveTo>
                    <a:pt x="531664" y="0"/>
                  </a:moveTo>
                  <a:lnTo>
                    <a:pt x="0" y="2289035"/>
                  </a:lnTo>
                  <a:cubicBezTo>
                    <a:pt x="0" y="2289035"/>
                    <a:pt x="709758" y="2260226"/>
                    <a:pt x="907495" y="1250588"/>
                  </a:cubicBezTo>
                  <a:cubicBezTo>
                    <a:pt x="1101304" y="271070"/>
                    <a:pt x="531664" y="0"/>
                    <a:pt x="531664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iṧ1îďè"/>
            <p:cNvSpPr/>
            <p:nvPr/>
          </p:nvSpPr>
          <p:spPr>
            <a:xfrm>
              <a:off x="5239350" y="3331493"/>
              <a:ext cx="327379" cy="130952"/>
            </a:xfrm>
            <a:custGeom>
              <a:avLst/>
              <a:gdLst>
                <a:gd name="connsiteX0" fmla="*/ 0 w 327379"/>
                <a:gd name="connsiteY0" fmla="*/ 134984 h 130951"/>
                <a:gd name="connsiteX1" fmla="*/ 132261 w 327379"/>
                <a:gd name="connsiteY1" fmla="*/ 11890 h 130951"/>
                <a:gd name="connsiteX2" fmla="*/ 336546 w 327379"/>
                <a:gd name="connsiteY2" fmla="*/ 134984 h 130951"/>
                <a:gd name="connsiteX3" fmla="*/ 168928 w 327379"/>
                <a:gd name="connsiteY3" fmla="*/ 134984 h 130951"/>
                <a:gd name="connsiteX4" fmla="*/ 182023 w 327379"/>
                <a:gd name="connsiteY4" fmla="*/ 79985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379" h="130951">
                  <a:moveTo>
                    <a:pt x="0" y="134984"/>
                  </a:moveTo>
                  <a:cubicBezTo>
                    <a:pt x="0" y="134984"/>
                    <a:pt x="37976" y="42009"/>
                    <a:pt x="132261" y="11890"/>
                  </a:cubicBezTo>
                  <a:cubicBezTo>
                    <a:pt x="225237" y="-18229"/>
                    <a:pt x="340474" y="4033"/>
                    <a:pt x="336546" y="134984"/>
                  </a:cubicBezTo>
                  <a:lnTo>
                    <a:pt x="168928" y="134984"/>
                  </a:lnTo>
                  <a:cubicBezTo>
                    <a:pt x="168928" y="134984"/>
                    <a:pt x="149285" y="98318"/>
                    <a:pt x="182023" y="79985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íŝ1îḑê"/>
            <p:cNvSpPr/>
            <p:nvPr/>
          </p:nvSpPr>
          <p:spPr>
            <a:xfrm>
              <a:off x="5552096" y="3158427"/>
              <a:ext cx="366665" cy="301189"/>
            </a:xfrm>
            <a:custGeom>
              <a:avLst/>
              <a:gdLst>
                <a:gd name="connsiteX0" fmla="*/ 321060 w 366664"/>
                <a:gd name="connsiteY0" fmla="*/ 309360 h 301188"/>
                <a:gd name="connsiteX1" fmla="*/ 304036 w 366664"/>
                <a:gd name="connsiteY1" fmla="*/ 50075 h 301188"/>
                <a:gd name="connsiteX2" fmla="*/ 61775 w 366664"/>
                <a:gd name="connsiteY2" fmla="*/ 272693 h 301188"/>
                <a:gd name="connsiteX3" fmla="*/ 150822 w 366664"/>
                <a:gd name="connsiteY3" fmla="*/ 161384 h 30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6664" h="301188">
                  <a:moveTo>
                    <a:pt x="321060" y="309360"/>
                  </a:moveTo>
                  <a:cubicBezTo>
                    <a:pt x="321060" y="309360"/>
                    <a:pt x="454630" y="179718"/>
                    <a:pt x="304036" y="50075"/>
                  </a:cubicBezTo>
                  <a:cubicBezTo>
                    <a:pt x="122013" y="-107066"/>
                    <a:pt x="-113700" y="144361"/>
                    <a:pt x="61775" y="272693"/>
                  </a:cubicBezTo>
                  <a:cubicBezTo>
                    <a:pt x="170465" y="352574"/>
                    <a:pt x="254274" y="196741"/>
                    <a:pt x="150822" y="16138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îṩľîḋè"/>
            <p:cNvSpPr/>
            <p:nvPr/>
          </p:nvSpPr>
          <p:spPr>
            <a:xfrm>
              <a:off x="5856132" y="3091595"/>
              <a:ext cx="392855" cy="340474"/>
            </a:xfrm>
            <a:custGeom>
              <a:avLst/>
              <a:gdLst>
                <a:gd name="connsiteX0" fmla="*/ 0 w 392854"/>
                <a:gd name="connsiteY0" fmla="*/ 115598 h 340474"/>
                <a:gd name="connsiteX1" fmla="*/ 208213 w 392854"/>
                <a:gd name="connsiteY1" fmla="*/ 361 h 340474"/>
                <a:gd name="connsiteX2" fmla="*/ 383688 w 392854"/>
                <a:gd name="connsiteY2" fmla="*/ 267502 h 340474"/>
                <a:gd name="connsiteX3" fmla="*/ 210832 w 392854"/>
                <a:gd name="connsiteY3" fmla="*/ 306788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854" h="340474">
                  <a:moveTo>
                    <a:pt x="0" y="115598"/>
                  </a:moveTo>
                  <a:cubicBezTo>
                    <a:pt x="0" y="115598"/>
                    <a:pt x="51071" y="-7496"/>
                    <a:pt x="208213" y="361"/>
                  </a:cubicBezTo>
                  <a:cubicBezTo>
                    <a:pt x="365355" y="8218"/>
                    <a:pt x="426902" y="161431"/>
                    <a:pt x="383688" y="267502"/>
                  </a:cubicBezTo>
                  <a:cubicBezTo>
                    <a:pt x="340474" y="373573"/>
                    <a:pt x="214761" y="374882"/>
                    <a:pt x="210832" y="306788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íṡ1ïḓe"/>
            <p:cNvSpPr/>
            <p:nvPr/>
          </p:nvSpPr>
          <p:spPr>
            <a:xfrm>
              <a:off x="6068274" y="3266121"/>
              <a:ext cx="78571" cy="13095"/>
            </a:xfrm>
            <a:custGeom>
              <a:avLst/>
              <a:gdLst>
                <a:gd name="connsiteX0" fmla="*/ 79880 w 78570"/>
                <a:gd name="connsiteY0" fmla="*/ 0 h 13095"/>
                <a:gd name="connsiteX1" fmla="*/ 0 w 78570"/>
                <a:gd name="connsiteY1" fmla="*/ 22262 h 13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13095">
                  <a:moveTo>
                    <a:pt x="79880" y="0"/>
                  </a:moveTo>
                  <a:cubicBezTo>
                    <a:pt x="79880" y="0"/>
                    <a:pt x="41904" y="27500"/>
                    <a:pt x="0" y="2226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ŝlîḍê"/>
            <p:cNvSpPr/>
            <p:nvPr/>
          </p:nvSpPr>
          <p:spPr>
            <a:xfrm>
              <a:off x="6053869" y="3179693"/>
              <a:ext cx="13095" cy="209523"/>
            </a:xfrm>
            <a:custGeom>
              <a:avLst/>
              <a:gdLst>
                <a:gd name="connsiteX0" fmla="*/ 0 w 13095"/>
                <a:gd name="connsiteY0" fmla="*/ 0 h 209522"/>
                <a:gd name="connsiteX1" fmla="*/ 11786 w 13095"/>
                <a:gd name="connsiteY1" fmla="*/ 218689 h 20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" h="209522">
                  <a:moveTo>
                    <a:pt x="0" y="0"/>
                  </a:moveTo>
                  <a:cubicBezTo>
                    <a:pt x="0" y="0"/>
                    <a:pt x="23571" y="117856"/>
                    <a:pt x="11786" y="218689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íṧlîḓé"/>
            <p:cNvSpPr/>
            <p:nvPr/>
          </p:nvSpPr>
          <p:spPr>
            <a:xfrm>
              <a:off x="6252121" y="3110277"/>
              <a:ext cx="340474" cy="353569"/>
            </a:xfrm>
            <a:custGeom>
              <a:avLst/>
              <a:gdLst>
                <a:gd name="connsiteX0" fmla="*/ 353055 w 340474"/>
                <a:gd name="connsiteY0" fmla="*/ 106083 h 353569"/>
                <a:gd name="connsiteX1" fmla="*/ 185437 w 340474"/>
                <a:gd name="connsiteY1" fmla="*/ 12 h 353569"/>
                <a:gd name="connsiteX2" fmla="*/ 37461 w 340474"/>
                <a:gd name="connsiteY2" fmla="*/ 289415 h 353569"/>
                <a:gd name="connsiteX3" fmla="*/ 287579 w 340474"/>
                <a:gd name="connsiteY3" fmla="*/ 250130 h 353569"/>
                <a:gd name="connsiteX4" fmla="*/ 122580 w 340474"/>
                <a:gd name="connsiteY4" fmla="*/ 213463 h 35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474" h="353569">
                  <a:moveTo>
                    <a:pt x="353055" y="106083"/>
                  </a:moveTo>
                  <a:cubicBezTo>
                    <a:pt x="353055" y="106083"/>
                    <a:pt x="312460" y="-1298"/>
                    <a:pt x="185437" y="12"/>
                  </a:cubicBezTo>
                  <a:cubicBezTo>
                    <a:pt x="36152" y="1321"/>
                    <a:pt x="-55514" y="159773"/>
                    <a:pt x="37461" y="289415"/>
                  </a:cubicBezTo>
                  <a:cubicBezTo>
                    <a:pt x="122580" y="407272"/>
                    <a:pt x="287579" y="357510"/>
                    <a:pt x="287579" y="250130"/>
                  </a:cubicBezTo>
                  <a:cubicBezTo>
                    <a:pt x="287579" y="104773"/>
                    <a:pt x="134366" y="99535"/>
                    <a:pt x="122580" y="213463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îṡľiḑè"/>
            <p:cNvSpPr/>
            <p:nvPr/>
          </p:nvSpPr>
          <p:spPr>
            <a:xfrm>
              <a:off x="6628486" y="3332240"/>
              <a:ext cx="170237" cy="104761"/>
            </a:xfrm>
            <a:custGeom>
              <a:avLst/>
              <a:gdLst>
                <a:gd name="connsiteX0" fmla="*/ 261 w 170237"/>
                <a:gd name="connsiteY0" fmla="*/ 111976 h 104761"/>
                <a:gd name="connsiteX1" fmla="*/ 81451 w 170237"/>
                <a:gd name="connsiteY1" fmla="*/ 667 h 104761"/>
                <a:gd name="connsiteX2" fmla="*/ 179665 w 170237"/>
                <a:gd name="connsiteY2" fmla="*/ 56976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237" h="104761">
                  <a:moveTo>
                    <a:pt x="261" y="111976"/>
                  </a:moveTo>
                  <a:cubicBezTo>
                    <a:pt x="261" y="111976"/>
                    <a:pt x="-8906" y="11143"/>
                    <a:pt x="81451" y="667"/>
                  </a:cubicBezTo>
                  <a:cubicBezTo>
                    <a:pt x="149546" y="-7190"/>
                    <a:pt x="179665" y="56976"/>
                    <a:pt x="179665" y="56976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š1ïḑé"/>
            <p:cNvSpPr/>
            <p:nvPr/>
          </p:nvSpPr>
          <p:spPr>
            <a:xfrm>
              <a:off x="6897348" y="3216353"/>
              <a:ext cx="392855" cy="248808"/>
            </a:xfrm>
            <a:custGeom>
              <a:avLst/>
              <a:gdLst>
                <a:gd name="connsiteX0" fmla="*/ 397943 w 392854"/>
                <a:gd name="connsiteY0" fmla="*/ 244886 h 248808"/>
                <a:gd name="connsiteX1" fmla="*/ 193658 w 392854"/>
                <a:gd name="connsiteY1" fmla="*/ 7 h 248808"/>
                <a:gd name="connsiteX2" fmla="*/ 53540 w 392854"/>
                <a:gd name="connsiteY2" fmla="*/ 250124 h 248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2854" h="248808">
                  <a:moveTo>
                    <a:pt x="397943" y="244886"/>
                  </a:moveTo>
                  <a:cubicBezTo>
                    <a:pt x="418895" y="183339"/>
                    <a:pt x="369134" y="-1303"/>
                    <a:pt x="193658" y="7"/>
                  </a:cubicBezTo>
                  <a:cubicBezTo>
                    <a:pt x="-35507" y="1316"/>
                    <a:pt x="-31578" y="227863"/>
                    <a:pt x="53540" y="25012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ïṧḷîḍe"/>
            <p:cNvSpPr/>
            <p:nvPr/>
          </p:nvSpPr>
          <p:spPr>
            <a:xfrm>
              <a:off x="6522676" y="3196282"/>
              <a:ext cx="379760" cy="104761"/>
            </a:xfrm>
            <a:custGeom>
              <a:avLst/>
              <a:gdLst>
                <a:gd name="connsiteX0" fmla="*/ 0 w 379759"/>
                <a:gd name="connsiteY0" fmla="*/ 92101 h 104761"/>
                <a:gd name="connsiteX1" fmla="*/ 182023 w 379759"/>
                <a:gd name="connsiteY1" fmla="*/ 1744 h 104761"/>
                <a:gd name="connsiteX2" fmla="*/ 388926 w 379759"/>
                <a:gd name="connsiteY2" fmla="*/ 115672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759" h="104761">
                  <a:moveTo>
                    <a:pt x="0" y="92101"/>
                  </a:moveTo>
                  <a:cubicBezTo>
                    <a:pt x="0" y="92101"/>
                    <a:pt x="45833" y="18768"/>
                    <a:pt x="182023" y="1744"/>
                  </a:cubicBezTo>
                  <a:cubicBezTo>
                    <a:pt x="340474" y="-16589"/>
                    <a:pt x="388926" y="115672"/>
                    <a:pt x="388926" y="11567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iṡḻïḑe"/>
            <p:cNvSpPr/>
            <p:nvPr/>
          </p:nvSpPr>
          <p:spPr>
            <a:xfrm>
              <a:off x="7039935" y="3331597"/>
              <a:ext cx="39285" cy="117856"/>
            </a:xfrm>
            <a:custGeom>
              <a:avLst/>
              <a:gdLst>
                <a:gd name="connsiteX0" fmla="*/ 0 w 39285"/>
                <a:gd name="connsiteY0" fmla="*/ 0 h 117856"/>
                <a:gd name="connsiteX1" fmla="*/ 37976 w 39285"/>
                <a:gd name="connsiteY1" fmla="*/ 128332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 h="117856">
                  <a:moveTo>
                    <a:pt x="0" y="0"/>
                  </a:moveTo>
                  <a:cubicBezTo>
                    <a:pt x="0" y="0"/>
                    <a:pt x="81190" y="17024"/>
                    <a:pt x="37976" y="12833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iṣliḋê"/>
            <p:cNvSpPr/>
            <p:nvPr/>
          </p:nvSpPr>
          <p:spPr>
            <a:xfrm>
              <a:off x="7091006" y="3323740"/>
              <a:ext cx="52381" cy="52381"/>
            </a:xfrm>
            <a:custGeom>
              <a:avLst/>
              <a:gdLst>
                <a:gd name="connsiteX0" fmla="*/ 60238 w 52380"/>
                <a:gd name="connsiteY0" fmla="*/ 0 h 52380"/>
                <a:gd name="connsiteX1" fmla="*/ 0 w 52380"/>
                <a:gd name="connsiteY1" fmla="*/ 62857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 h="52380">
                  <a:moveTo>
                    <a:pt x="60238" y="0"/>
                  </a:moveTo>
                  <a:cubicBezTo>
                    <a:pt x="60238" y="0"/>
                    <a:pt x="51071" y="51071"/>
                    <a:pt x="0" y="62857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îsḷïdê"/>
            <p:cNvSpPr/>
            <p:nvPr/>
          </p:nvSpPr>
          <p:spPr>
            <a:xfrm>
              <a:off x="6833031" y="2752791"/>
              <a:ext cx="13095" cy="340474"/>
            </a:xfrm>
            <a:custGeom>
              <a:avLst/>
              <a:gdLst>
                <a:gd name="connsiteX0" fmla="*/ 0 w 0"/>
                <a:gd name="connsiteY0" fmla="*/ 0 h 340474"/>
                <a:gd name="connsiteX1" fmla="*/ 0 w 0"/>
                <a:gd name="connsiteY1" fmla="*/ 344403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40474">
                  <a:moveTo>
                    <a:pt x="0" y="0"/>
                  </a:moveTo>
                  <a:lnTo>
                    <a:pt x="0" y="344403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i$ḻïḍê"/>
            <p:cNvSpPr/>
            <p:nvPr/>
          </p:nvSpPr>
          <p:spPr>
            <a:xfrm>
              <a:off x="6661485" y="2924338"/>
              <a:ext cx="340474" cy="13095"/>
            </a:xfrm>
            <a:custGeom>
              <a:avLst/>
              <a:gdLst>
                <a:gd name="connsiteX0" fmla="*/ 343093 w 340474"/>
                <a:gd name="connsiteY0" fmla="*/ 2619 h 0"/>
                <a:gd name="connsiteX1" fmla="*/ 0 w 34047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474">
                  <a:moveTo>
                    <a:pt x="343093" y="2619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iş1îďé"/>
            <p:cNvSpPr/>
            <p:nvPr/>
          </p:nvSpPr>
          <p:spPr>
            <a:xfrm>
              <a:off x="5408277" y="2655887"/>
              <a:ext cx="13095" cy="235713"/>
            </a:xfrm>
            <a:custGeom>
              <a:avLst/>
              <a:gdLst>
                <a:gd name="connsiteX0" fmla="*/ 0 w 0"/>
                <a:gd name="connsiteY0" fmla="*/ 0 h 235712"/>
                <a:gd name="connsiteX1" fmla="*/ 0 w 0"/>
                <a:gd name="connsiteY1" fmla="*/ 243570 h 23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35712">
                  <a:moveTo>
                    <a:pt x="0" y="0"/>
                  </a:moveTo>
                  <a:lnTo>
                    <a:pt x="0" y="24357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iṧľiḍè"/>
            <p:cNvSpPr/>
            <p:nvPr/>
          </p:nvSpPr>
          <p:spPr>
            <a:xfrm>
              <a:off x="5287802" y="2776362"/>
              <a:ext cx="235713" cy="13095"/>
            </a:xfrm>
            <a:custGeom>
              <a:avLst/>
              <a:gdLst>
                <a:gd name="connsiteX0" fmla="*/ 242261 w 235712"/>
                <a:gd name="connsiteY0" fmla="*/ 2619 h 0"/>
                <a:gd name="connsiteX1" fmla="*/ 0 w 23571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712">
                  <a:moveTo>
                    <a:pt x="242261" y="2619"/>
                  </a:moveTo>
                  <a:lnTo>
                    <a:pt x="0" y="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îŝḷiďê"/>
            <p:cNvSpPr/>
            <p:nvPr/>
          </p:nvSpPr>
          <p:spPr>
            <a:xfrm>
              <a:off x="5232802" y="3076241"/>
              <a:ext cx="117856" cy="117856"/>
            </a:xfrm>
            <a:custGeom>
              <a:avLst/>
              <a:gdLst>
                <a:gd name="connsiteX0" fmla="*/ 117856 w 117856"/>
                <a:gd name="connsiteY0" fmla="*/ 58928 h 117856"/>
                <a:gd name="connsiteX1" fmla="*/ 58928 w 117856"/>
                <a:gd name="connsiteY1" fmla="*/ 0 h 117856"/>
                <a:gd name="connsiteX2" fmla="*/ 0 w 117856"/>
                <a:gd name="connsiteY2" fmla="*/ 58928 h 117856"/>
                <a:gd name="connsiteX3" fmla="*/ 58928 w 117856"/>
                <a:gd name="connsiteY3" fmla="*/ 117856 h 117856"/>
                <a:gd name="connsiteX4" fmla="*/ 117856 w 117856"/>
                <a:gd name="connsiteY4" fmla="*/ 58928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856" h="117856">
                  <a:moveTo>
                    <a:pt x="117856" y="58928"/>
                  </a:moveTo>
                  <a:cubicBezTo>
                    <a:pt x="117856" y="26190"/>
                    <a:pt x="91666" y="0"/>
                    <a:pt x="58928" y="0"/>
                  </a:cubicBezTo>
                  <a:cubicBezTo>
                    <a:pt x="26190" y="0"/>
                    <a:pt x="0" y="26190"/>
                    <a:pt x="0" y="58928"/>
                  </a:cubicBezTo>
                  <a:cubicBezTo>
                    <a:pt x="0" y="91666"/>
                    <a:pt x="26190" y="117856"/>
                    <a:pt x="58928" y="117856"/>
                  </a:cubicBezTo>
                  <a:cubicBezTo>
                    <a:pt x="91666" y="117856"/>
                    <a:pt x="117856" y="91666"/>
                    <a:pt x="117856" y="58928"/>
                  </a:cubicBezTo>
                  <a:close/>
                </a:path>
              </a:pathLst>
            </a:custGeom>
            <a:noFill/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ï$ḷiḍé"/>
            <p:cNvSpPr/>
            <p:nvPr/>
          </p:nvSpPr>
          <p:spPr>
            <a:xfrm>
              <a:off x="7122434" y="2654577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10 w 0"/>
                <a:gd name="connsiteY1" fmla="*/ 39286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10" y="39286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ïşḷïḍe"/>
            <p:cNvSpPr/>
            <p:nvPr/>
          </p:nvSpPr>
          <p:spPr>
            <a:xfrm>
              <a:off x="7125053" y="2747553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09 w 0"/>
                <a:gd name="connsiteY1" fmla="*/ 39285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09" y="39285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i$ḻïďé"/>
            <p:cNvSpPr/>
            <p:nvPr/>
          </p:nvSpPr>
          <p:spPr>
            <a:xfrm>
              <a:off x="7151244" y="2718743"/>
              <a:ext cx="39285" cy="13095"/>
            </a:xfrm>
            <a:custGeom>
              <a:avLst/>
              <a:gdLst>
                <a:gd name="connsiteX0" fmla="*/ 39286 w 39285"/>
                <a:gd name="connsiteY0" fmla="*/ 0 h 0"/>
                <a:gd name="connsiteX1" fmla="*/ 0 w 3928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6" y="0"/>
                  </a:moveTo>
                  <a:lnTo>
                    <a:pt x="0" y="1310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iṩḷîďè"/>
            <p:cNvSpPr/>
            <p:nvPr/>
          </p:nvSpPr>
          <p:spPr>
            <a:xfrm>
              <a:off x="7058268" y="2721362"/>
              <a:ext cx="39285" cy="13095"/>
            </a:xfrm>
            <a:custGeom>
              <a:avLst/>
              <a:gdLst>
                <a:gd name="connsiteX0" fmla="*/ 39285 w 39285"/>
                <a:gd name="connsiteY0" fmla="*/ 0 h 0"/>
                <a:gd name="connsiteX1" fmla="*/ 0 w 39285"/>
                <a:gd name="connsiteY1" fmla="*/ 13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5" y="0"/>
                  </a:moveTo>
                  <a:lnTo>
                    <a:pt x="0" y="1309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îśḷiḋè"/>
            <p:cNvSpPr/>
            <p:nvPr/>
          </p:nvSpPr>
          <p:spPr>
            <a:xfrm>
              <a:off x="5742204" y="2792076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130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130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işlïďe"/>
            <p:cNvSpPr/>
            <p:nvPr/>
          </p:nvSpPr>
          <p:spPr>
            <a:xfrm>
              <a:off x="5744823" y="2943980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261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261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iṧļîďê"/>
            <p:cNvSpPr/>
            <p:nvPr/>
          </p:nvSpPr>
          <p:spPr>
            <a:xfrm>
              <a:off x="5788037" y="2898147"/>
              <a:ext cx="52381" cy="13095"/>
            </a:xfrm>
            <a:custGeom>
              <a:avLst/>
              <a:gdLst>
                <a:gd name="connsiteX0" fmla="*/ 64166 w 52380"/>
                <a:gd name="connsiteY0" fmla="*/ 0 h 0"/>
                <a:gd name="connsiteX1" fmla="*/ 0 w 52380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>
                  <a:moveTo>
                    <a:pt x="6416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ïśľide"/>
            <p:cNvSpPr/>
            <p:nvPr/>
          </p:nvSpPr>
          <p:spPr>
            <a:xfrm>
              <a:off x="5636133" y="2900766"/>
              <a:ext cx="65476" cy="13095"/>
            </a:xfrm>
            <a:custGeom>
              <a:avLst/>
              <a:gdLst>
                <a:gd name="connsiteX0" fmla="*/ 65476 w 65475"/>
                <a:gd name="connsiteY0" fmla="*/ 0 h 0"/>
                <a:gd name="connsiteX1" fmla="*/ 0 w 6547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475">
                  <a:moveTo>
                    <a:pt x="6547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îṣḷiďè"/>
            <p:cNvSpPr/>
            <p:nvPr/>
          </p:nvSpPr>
          <p:spPr>
            <a:xfrm>
              <a:off x="7212733" y="2994993"/>
              <a:ext cx="91666" cy="91666"/>
            </a:xfrm>
            <a:custGeom>
              <a:avLst/>
              <a:gdLst>
                <a:gd name="connsiteX0" fmla="*/ 96962 w 91666"/>
                <a:gd name="connsiteY0" fmla="*/ 47201 h 91666"/>
                <a:gd name="connsiteX1" fmla="*/ 47201 w 91666"/>
                <a:gd name="connsiteY1" fmla="*/ 58 h 91666"/>
                <a:gd name="connsiteX2" fmla="*/ 58 w 91666"/>
                <a:gd name="connsiteY2" fmla="*/ 49820 h 91666"/>
                <a:gd name="connsiteX3" fmla="*/ 49820 w 91666"/>
                <a:gd name="connsiteY3" fmla="*/ 96963 h 91666"/>
                <a:gd name="connsiteX4" fmla="*/ 96962 w 91666"/>
                <a:gd name="connsiteY4" fmla="*/ 47201 h 91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66" h="91666">
                  <a:moveTo>
                    <a:pt x="96962" y="47201"/>
                  </a:moveTo>
                  <a:cubicBezTo>
                    <a:pt x="95653" y="19701"/>
                    <a:pt x="73391" y="-1251"/>
                    <a:pt x="47201" y="58"/>
                  </a:cubicBezTo>
                  <a:cubicBezTo>
                    <a:pt x="19701" y="1368"/>
                    <a:pt x="-1251" y="23630"/>
                    <a:pt x="58" y="49820"/>
                  </a:cubicBezTo>
                  <a:cubicBezTo>
                    <a:pt x="1368" y="77320"/>
                    <a:pt x="23630" y="98272"/>
                    <a:pt x="49820" y="96963"/>
                  </a:cubicBezTo>
                  <a:cubicBezTo>
                    <a:pt x="76010" y="96963"/>
                    <a:pt x="98272" y="74701"/>
                    <a:pt x="96962" y="47201"/>
                  </a:cubicBezTo>
                  <a:close/>
                </a:path>
              </a:pathLst>
            </a:custGeom>
            <a:noFill/>
            <a:ln w="38196" cap="rnd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i$líḓe"/>
            <p:cNvSpPr/>
            <p:nvPr/>
          </p:nvSpPr>
          <p:spPr>
            <a:xfrm>
              <a:off x="5926846" y="3336835"/>
              <a:ext cx="130952" cy="130952"/>
            </a:xfrm>
            <a:custGeom>
              <a:avLst/>
              <a:gdLst>
                <a:gd name="connsiteX0" fmla="*/ 140118 w 130951"/>
                <a:gd name="connsiteY0" fmla="*/ 130952 h 130951"/>
                <a:gd name="connsiteX1" fmla="*/ 0 w 130951"/>
                <a:gd name="connsiteY1" fmla="*/ 0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1" h="130951">
                  <a:moveTo>
                    <a:pt x="140118" y="130952"/>
                  </a:moveTo>
                  <a:cubicBezTo>
                    <a:pt x="140118" y="130952"/>
                    <a:pt x="127023" y="0"/>
                    <a:pt x="0" y="0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ïṣḷíḓè"/>
            <p:cNvSpPr/>
            <p:nvPr/>
          </p:nvSpPr>
          <p:spPr>
            <a:xfrm>
              <a:off x="5830723" y="1628929"/>
              <a:ext cx="890471" cy="1113089"/>
            </a:xfrm>
            <a:custGeom>
              <a:avLst/>
              <a:gdLst>
                <a:gd name="connsiteX0" fmla="*/ 898856 w 890471"/>
                <a:gd name="connsiteY0" fmla="*/ 449461 h 1113088"/>
                <a:gd name="connsiteX1" fmla="*/ 431359 w 890471"/>
                <a:gd name="connsiteY1" fmla="*/ 297 h 1113088"/>
                <a:gd name="connsiteX2" fmla="*/ 528 w 890471"/>
                <a:gd name="connsiteY2" fmla="*/ 427199 h 1113088"/>
                <a:gd name="connsiteX3" fmla="*/ 89575 w 890471"/>
                <a:gd name="connsiteY3" fmla="*/ 720531 h 1113088"/>
                <a:gd name="connsiteX4" fmla="*/ 233622 w 890471"/>
                <a:gd name="connsiteY4" fmla="*/ 1096362 h 1113088"/>
                <a:gd name="connsiteX5" fmla="*/ 233622 w 890471"/>
                <a:gd name="connsiteY5" fmla="*/ 1113386 h 1113088"/>
                <a:gd name="connsiteX6" fmla="*/ 664453 w 890471"/>
                <a:gd name="connsiteY6" fmla="*/ 1113386 h 1113088"/>
                <a:gd name="connsiteX7" fmla="*/ 664453 w 890471"/>
                <a:gd name="connsiteY7" fmla="*/ 1108148 h 1113088"/>
                <a:gd name="connsiteX8" fmla="*/ 804571 w 890471"/>
                <a:gd name="connsiteY8" fmla="*/ 725769 h 1113088"/>
                <a:gd name="connsiteX9" fmla="*/ 898856 w 890471"/>
                <a:gd name="connsiteY9" fmla="*/ 449461 h 11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0471" h="1113088">
                  <a:moveTo>
                    <a:pt x="898856" y="449461"/>
                  </a:moveTo>
                  <a:cubicBezTo>
                    <a:pt x="898856" y="195415"/>
                    <a:pt x="688024" y="-8870"/>
                    <a:pt x="431359" y="297"/>
                  </a:cubicBezTo>
                  <a:cubicBezTo>
                    <a:pt x="200884" y="9464"/>
                    <a:pt x="12313" y="195415"/>
                    <a:pt x="528" y="427199"/>
                  </a:cubicBezTo>
                  <a:cubicBezTo>
                    <a:pt x="-4710" y="537199"/>
                    <a:pt x="29337" y="639341"/>
                    <a:pt x="89575" y="720531"/>
                  </a:cubicBezTo>
                  <a:cubicBezTo>
                    <a:pt x="181241" y="841007"/>
                    <a:pt x="233622" y="944458"/>
                    <a:pt x="233622" y="1096362"/>
                  </a:cubicBezTo>
                  <a:lnTo>
                    <a:pt x="233622" y="1113386"/>
                  </a:lnTo>
                  <a:lnTo>
                    <a:pt x="664453" y="1113386"/>
                  </a:lnTo>
                  <a:lnTo>
                    <a:pt x="664453" y="1108148"/>
                  </a:lnTo>
                  <a:cubicBezTo>
                    <a:pt x="664453" y="954934"/>
                    <a:pt x="711595" y="847554"/>
                    <a:pt x="804571" y="725769"/>
                  </a:cubicBezTo>
                  <a:cubicBezTo>
                    <a:pt x="863499" y="648508"/>
                    <a:pt x="898856" y="552913"/>
                    <a:pt x="898856" y="449461"/>
                  </a:cubicBezTo>
                  <a:close/>
                </a:path>
              </a:pathLst>
            </a:custGeom>
            <a:solidFill>
              <a:schemeClr val="accent4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ïślîḓe"/>
            <p:cNvSpPr/>
            <p:nvPr/>
          </p:nvSpPr>
          <p:spPr>
            <a:xfrm>
              <a:off x="6066964" y="2827433"/>
              <a:ext cx="419045" cy="13095"/>
            </a:xfrm>
            <a:custGeom>
              <a:avLst/>
              <a:gdLst>
                <a:gd name="connsiteX0" fmla="*/ 0 w 419045"/>
                <a:gd name="connsiteY0" fmla="*/ 0 h 0"/>
                <a:gd name="connsiteX1" fmla="*/ 425593 w 41904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045">
                  <a:moveTo>
                    <a:pt x="0" y="0"/>
                  </a:moveTo>
                  <a:lnTo>
                    <a:pt x="42559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iṥļïďé"/>
            <p:cNvSpPr/>
            <p:nvPr/>
          </p:nvSpPr>
          <p:spPr>
            <a:xfrm>
              <a:off x="6148154" y="2925647"/>
              <a:ext cx="261903" cy="13095"/>
            </a:xfrm>
            <a:custGeom>
              <a:avLst/>
              <a:gdLst>
                <a:gd name="connsiteX0" fmla="*/ 0 w 261903"/>
                <a:gd name="connsiteY0" fmla="*/ 0 h 0"/>
                <a:gd name="connsiteX1" fmla="*/ 263213 w 26190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03">
                  <a:moveTo>
                    <a:pt x="0" y="0"/>
                  </a:moveTo>
                  <a:lnTo>
                    <a:pt x="26321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iślíḓé"/>
            <p:cNvSpPr/>
            <p:nvPr/>
          </p:nvSpPr>
          <p:spPr>
            <a:xfrm>
              <a:off x="5520896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îşḻïḑé"/>
            <p:cNvSpPr/>
            <p:nvPr/>
          </p:nvSpPr>
          <p:spPr>
            <a:xfrm>
              <a:off x="6826484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iš1îḓe"/>
            <p:cNvSpPr/>
            <p:nvPr/>
          </p:nvSpPr>
          <p:spPr>
            <a:xfrm>
              <a:off x="6636604" y="1559821"/>
              <a:ext cx="78571" cy="78571"/>
            </a:xfrm>
            <a:custGeom>
              <a:avLst/>
              <a:gdLst>
                <a:gd name="connsiteX0" fmla="*/ 89047 w 78570"/>
                <a:gd name="connsiteY0" fmla="*/ 0 h 78570"/>
                <a:gd name="connsiteX1" fmla="*/ 0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89047" y="0"/>
                  </a:moveTo>
                  <a:lnTo>
                    <a:pt x="0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iṣļïḋê"/>
            <p:cNvSpPr/>
            <p:nvPr/>
          </p:nvSpPr>
          <p:spPr>
            <a:xfrm>
              <a:off x="5856132" y="1559821"/>
              <a:ext cx="78571" cy="78571"/>
            </a:xfrm>
            <a:custGeom>
              <a:avLst/>
              <a:gdLst>
                <a:gd name="connsiteX0" fmla="*/ 0 w 78570"/>
                <a:gd name="connsiteY0" fmla="*/ 0 h 78570"/>
                <a:gd name="connsiteX1" fmla="*/ 89047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0" y="0"/>
                  </a:moveTo>
                  <a:lnTo>
                    <a:pt x="89047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ïṧḻîdè"/>
            <p:cNvSpPr/>
            <p:nvPr/>
          </p:nvSpPr>
          <p:spPr>
            <a:xfrm>
              <a:off x="6254225" y="1330656"/>
              <a:ext cx="13095" cy="196427"/>
            </a:xfrm>
            <a:custGeom>
              <a:avLst/>
              <a:gdLst>
                <a:gd name="connsiteX0" fmla="*/ 0 w 0"/>
                <a:gd name="connsiteY0" fmla="*/ 196427 h 196427"/>
                <a:gd name="connsiteX1" fmla="*/ 0 w 0"/>
                <a:gd name="connsiteY1" fmla="*/ 0 h 19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6427">
                  <a:moveTo>
                    <a:pt x="0" y="196427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ïṩlîḋè"/>
            <p:cNvSpPr/>
            <p:nvPr/>
          </p:nvSpPr>
          <p:spPr>
            <a:xfrm>
              <a:off x="6048631" y="2171366"/>
              <a:ext cx="144047" cy="445236"/>
            </a:xfrm>
            <a:custGeom>
              <a:avLst/>
              <a:gdLst>
                <a:gd name="connsiteX0" fmla="*/ 153213 w 144046"/>
                <a:gd name="connsiteY0" fmla="*/ 455712 h 445235"/>
                <a:gd name="connsiteX1" fmla="*/ 153213 w 144046"/>
                <a:gd name="connsiteY1" fmla="*/ 208213 h 445235"/>
                <a:gd name="connsiteX2" fmla="*/ 0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153213" y="455712"/>
                  </a:moveTo>
                  <a:lnTo>
                    <a:pt x="153213" y="208213"/>
                  </a:lnTo>
                  <a:lnTo>
                    <a:pt x="0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îśḻiḑê"/>
            <p:cNvSpPr/>
            <p:nvPr/>
          </p:nvSpPr>
          <p:spPr>
            <a:xfrm>
              <a:off x="6360296" y="2171366"/>
              <a:ext cx="144047" cy="445236"/>
            </a:xfrm>
            <a:custGeom>
              <a:avLst/>
              <a:gdLst>
                <a:gd name="connsiteX0" fmla="*/ 0 w 144046"/>
                <a:gd name="connsiteY0" fmla="*/ 455712 h 445235"/>
                <a:gd name="connsiteX1" fmla="*/ 0 w 144046"/>
                <a:gd name="connsiteY1" fmla="*/ 208213 h 445235"/>
                <a:gd name="connsiteX2" fmla="*/ 153213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0" y="455712"/>
                  </a:moveTo>
                  <a:lnTo>
                    <a:pt x="0" y="208213"/>
                  </a:lnTo>
                  <a:lnTo>
                    <a:pt x="153213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ísļîḓê"/>
            <p:cNvSpPr/>
            <p:nvPr/>
          </p:nvSpPr>
          <p:spPr>
            <a:xfrm>
              <a:off x="4799728" y="3431120"/>
              <a:ext cx="2723794" cy="2226178"/>
            </a:xfrm>
            <a:custGeom>
              <a:avLst/>
              <a:gdLst>
                <a:gd name="connsiteX0" fmla="*/ 2671038 w 2723794"/>
                <a:gd name="connsiteY0" fmla="*/ 0 h 2226177"/>
                <a:gd name="connsiteX1" fmla="*/ 303432 w 2723794"/>
                <a:gd name="connsiteY1" fmla="*/ 17024 h 2226177"/>
                <a:gd name="connsiteX2" fmla="*/ 278551 w 2723794"/>
                <a:gd name="connsiteY2" fmla="*/ 310355 h 2226177"/>
                <a:gd name="connsiteX3" fmla="*/ 192123 w 2723794"/>
                <a:gd name="connsiteY3" fmla="*/ 680949 h 2226177"/>
                <a:gd name="connsiteX4" fmla="*/ 10101 w 2723794"/>
                <a:gd name="connsiteY4" fmla="*/ 1013566 h 2226177"/>
                <a:gd name="connsiteX5" fmla="*/ 209147 w 2723794"/>
                <a:gd name="connsiteY5" fmla="*/ 1196898 h 2226177"/>
                <a:gd name="connsiteX6" fmla="*/ 416051 w 2723794"/>
                <a:gd name="connsiteY6" fmla="*/ 1667015 h 2226177"/>
                <a:gd name="connsiteX7" fmla="*/ 837715 w 2723794"/>
                <a:gd name="connsiteY7" fmla="*/ 1855585 h 2226177"/>
                <a:gd name="connsiteX8" fmla="*/ 897953 w 2723794"/>
                <a:gd name="connsiteY8" fmla="*/ 2236654 h 2226177"/>
                <a:gd name="connsiteX9" fmla="*/ 2169493 w 2723794"/>
                <a:gd name="connsiteY9" fmla="*/ 2227487 h 2226177"/>
                <a:gd name="connsiteX10" fmla="*/ 2344969 w 2723794"/>
                <a:gd name="connsiteY10" fmla="*/ 1487611 h 2226177"/>
                <a:gd name="connsiteX11" fmla="*/ 2671038 w 2723794"/>
                <a:gd name="connsiteY11" fmla="*/ 0 h 2226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3794" h="2226177">
                  <a:moveTo>
                    <a:pt x="2671038" y="0"/>
                  </a:moveTo>
                  <a:lnTo>
                    <a:pt x="303432" y="17024"/>
                  </a:lnTo>
                  <a:cubicBezTo>
                    <a:pt x="303432" y="17024"/>
                    <a:pt x="270694" y="157142"/>
                    <a:pt x="278551" y="310355"/>
                  </a:cubicBezTo>
                  <a:cubicBezTo>
                    <a:pt x="286409" y="463569"/>
                    <a:pt x="261528" y="559164"/>
                    <a:pt x="192123" y="680949"/>
                  </a:cubicBezTo>
                  <a:cubicBezTo>
                    <a:pt x="122719" y="802734"/>
                    <a:pt x="-42280" y="919281"/>
                    <a:pt x="10101" y="1013566"/>
                  </a:cubicBezTo>
                  <a:cubicBezTo>
                    <a:pt x="74267" y="1131422"/>
                    <a:pt x="189504" y="1076423"/>
                    <a:pt x="209147" y="1196898"/>
                  </a:cubicBezTo>
                  <a:cubicBezTo>
                    <a:pt x="228790" y="1317373"/>
                    <a:pt x="142362" y="1643443"/>
                    <a:pt x="416051" y="1667015"/>
                  </a:cubicBezTo>
                  <a:cubicBezTo>
                    <a:pt x="570574" y="1680110"/>
                    <a:pt x="768311" y="1722014"/>
                    <a:pt x="837715" y="1855585"/>
                  </a:cubicBezTo>
                  <a:cubicBezTo>
                    <a:pt x="908429" y="1989156"/>
                    <a:pt x="897953" y="2236654"/>
                    <a:pt x="897953" y="2236654"/>
                  </a:cubicBezTo>
                  <a:lnTo>
                    <a:pt x="2169493" y="2227487"/>
                  </a:lnTo>
                  <a:cubicBezTo>
                    <a:pt x="2169493" y="2227487"/>
                    <a:pt x="2177351" y="1735110"/>
                    <a:pt x="2344969" y="1487611"/>
                  </a:cubicBezTo>
                  <a:cubicBezTo>
                    <a:pt x="2529610" y="1215231"/>
                    <a:pt x="2880561" y="769996"/>
                    <a:pt x="2671038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r>
                <a:rPr lang="en-US" altLang="zh-CN" dirty="0"/>
                <a:t> </a:t>
              </a:r>
              <a:endParaRPr lang="zh-CN" altLang="en-US" dirty="0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.xml"/><Relationship Id="rId8" Type="http://schemas.openxmlformats.org/officeDocument/2006/relationships/themeOverride" Target="../theme/themeOverride1.xml"/><Relationship Id="rId7" Type="http://schemas.openxmlformats.org/officeDocument/2006/relationships/image" Target="../media/image4.png"/><Relationship Id="rId6" Type="http://schemas.openxmlformats.org/officeDocument/2006/relationships/image" Target="../media/image3.jpeg"/><Relationship Id="rId5" Type="http://schemas.openxmlformats.org/officeDocument/2006/relationships/image" Target="../media/image2.png"/><Relationship Id="rId4" Type="http://schemas.openxmlformats.org/officeDocument/2006/relationships/tags" Target="../tags/tag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0" Type="http://schemas.openxmlformats.org/officeDocument/2006/relationships/vmlDrawing" Target="../drawings/vmlDrawing1.v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hemeOverride" Target="../theme/themeOverride4.xml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4.xml"/><Relationship Id="rId5" Type="http://schemas.openxmlformats.org/officeDocument/2006/relationships/hyperlink" Target="https://www.kaggle.com/ogrellier/feature-selection-with-null-importances" TargetMode="External"/><Relationship Id="rId4" Type="http://schemas.openxmlformats.org/officeDocument/2006/relationships/image" Target="../media/image7.png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hemeOverride" Target="../theme/themeOverride5.xml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hemeOverride" Target="../theme/themeOverride6.xml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8.png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image" Target="../media/image4.png"/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hemeOverride" Target="../theme/themeOverride7.xml"/><Relationship Id="rId7" Type="http://schemas.openxmlformats.org/officeDocument/2006/relationships/image" Target="../media/image4.png"/><Relationship Id="rId6" Type="http://schemas.openxmlformats.org/officeDocument/2006/relationships/image" Target="../media/image3.jpeg"/><Relationship Id="rId5" Type="http://schemas.openxmlformats.org/officeDocument/2006/relationships/image" Target="../media/image2.png"/><Relationship Id="rId4" Type="http://schemas.openxmlformats.org/officeDocument/2006/relationships/tags" Target="../tags/tag7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0" Type="http://schemas.openxmlformats.org/officeDocument/2006/relationships/vmlDrawing" Target="../drawings/vmlDrawing2.vml"/><Relationship Id="rId1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image" Target="../media/image4.png"/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hemeOverride" Target="../theme/themeOverride2.xml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hemeOverride" Target="../theme/themeOverride3.xml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tags" Target="../tags/tag5.xml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ḓ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ïśļïḓê"/>
          <p:cNvGrpSpPr/>
          <p:nvPr/>
        </p:nvGrpSpPr>
        <p:grpSpPr>
          <a:xfrm>
            <a:off x="677410" y="1000676"/>
            <a:ext cx="4761472" cy="1747032"/>
            <a:chOff x="675908" y="693106"/>
            <a:chExt cx="9053516" cy="3321826"/>
          </a:xfrm>
        </p:grpSpPr>
        <p:sp>
          <p:nvSpPr>
            <p:cNvPr id="56" name="iṡḻíḓe"/>
            <p:cNvSpPr txBox="1"/>
            <p:nvPr/>
          </p:nvSpPr>
          <p:spPr>
            <a:xfrm>
              <a:off x="675908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rgbClr val="90B5FE">
                      <a:alpha val="20000"/>
                    </a:srgbClr>
                  </a:solidFill>
                  <a:latin typeface="Impact" panose="020B0806030902050204" pitchFamily="34" charset="0"/>
                </a:rPr>
                <a:t>2</a:t>
              </a:r>
              <a:endParaRPr lang="zh-CN" altLang="en-US" sz="9600" dirty="0">
                <a:solidFill>
                  <a:srgbClr val="90B5FE">
                    <a:alpha val="20000"/>
                  </a:srgb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7" name="ïślïḋê"/>
            <p:cNvSpPr txBox="1"/>
            <p:nvPr/>
          </p:nvSpPr>
          <p:spPr>
            <a:xfrm>
              <a:off x="2770637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rgbClr val="90B5FE">
                      <a:alpha val="20000"/>
                    </a:srgbClr>
                  </a:solidFill>
                  <a:latin typeface="Impact" panose="020B0806030902050204" pitchFamily="34" charset="0"/>
                </a:rPr>
                <a:t>0</a:t>
              </a:r>
              <a:endParaRPr lang="zh-CN" altLang="en-US" sz="9600" dirty="0">
                <a:solidFill>
                  <a:srgbClr val="90B5FE">
                    <a:alpha val="20000"/>
                  </a:srgb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8" name="íşlîḋê"/>
            <p:cNvSpPr txBox="1"/>
            <p:nvPr/>
          </p:nvSpPr>
          <p:spPr>
            <a:xfrm>
              <a:off x="4865366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rgbClr val="90B5FE">
                      <a:alpha val="20000"/>
                    </a:srgbClr>
                  </a:solidFill>
                  <a:latin typeface="Impact" panose="020B0806030902050204" pitchFamily="34" charset="0"/>
                </a:rPr>
                <a:t>2</a:t>
              </a:r>
              <a:endParaRPr lang="zh-CN" altLang="en-US" sz="9600" dirty="0">
                <a:solidFill>
                  <a:srgbClr val="90B5FE">
                    <a:alpha val="20000"/>
                  </a:srgb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9" name="îṧļîḍê"/>
            <p:cNvSpPr txBox="1"/>
            <p:nvPr/>
          </p:nvSpPr>
          <p:spPr>
            <a:xfrm>
              <a:off x="6960096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rgbClr val="90B5FE">
                      <a:alpha val="20000"/>
                    </a:srgbClr>
                  </a:solidFill>
                  <a:latin typeface="Impact" panose="020B0806030902050204" pitchFamily="34" charset="0"/>
                </a:rPr>
                <a:t>0</a:t>
              </a:r>
              <a:endParaRPr lang="zh-CN" altLang="en-US" sz="9600" dirty="0">
                <a:solidFill>
                  <a:srgbClr val="90B5FE">
                    <a:alpha val="20000"/>
                  </a:srgbClr>
                </a:solidFill>
                <a:latin typeface="Impact" panose="020B0806030902050204" pitchFamily="34" charset="0"/>
              </a:endParaRPr>
            </a:p>
          </p:txBody>
        </p:sp>
      </p:grpSp>
      <p:graphicFrame>
        <p:nvGraphicFramePr>
          <p:cNvPr id="3" name="ïṩḷiḑé" hidden="1"/>
          <p:cNvGraphicFramePr/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" imgW="9525" imgH="9525" progId="">
                  <p:embed/>
                </p:oleObj>
              </mc:Choice>
              <mc:Fallback>
                <p:oleObj name="think-cell Slide" r:id="rId2" imgW="9525" imgH="9525" progId="">
                  <p:embed/>
                  <p:pic>
                    <p:nvPicPr>
                      <p:cNvPr id="0" name="iş1iďé" descr="image1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sľîḑè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ïsľïḓê"/>
          <p:cNvSpPr>
            <a:spLocks noGrp="1"/>
          </p:cNvSpPr>
          <p:nvPr>
            <p:ph type="subTitle" idx="1"/>
          </p:nvPr>
        </p:nvSpPr>
        <p:spPr>
          <a:xfrm>
            <a:off x="361315" y="4606925"/>
            <a:ext cx="7181215" cy="1567815"/>
          </a:xfrm>
        </p:spPr>
        <p:txBody>
          <a:bodyPr>
            <a:normAutofit/>
          </a:bodyPr>
          <a:lstStyle/>
          <a:p>
            <a:r>
              <a:rPr lang="en-US" altLang="zh-CN" sz="3200" dirty="0">
                <a:sym typeface="+mn-ea"/>
              </a:rPr>
              <a:t>Rank 7</a:t>
            </a:r>
            <a:endParaRPr lang="en-US" altLang="zh-CN" sz="3200" dirty="0"/>
          </a:p>
          <a:p>
            <a:r>
              <a:rPr lang="en-US" altLang="zh-CN" sz="3200" dirty="0" smtClean="0"/>
              <a:t>duzeng</a:t>
            </a:r>
            <a:endParaRPr lang="en-US" altLang="zh-CN" sz="3200" dirty="0"/>
          </a:p>
        </p:txBody>
      </p:sp>
      <p:sp>
        <p:nvSpPr>
          <p:cNvPr id="4" name="iś1îdê"/>
          <p:cNvSpPr>
            <a:spLocks noGrp="1"/>
          </p:cNvSpPr>
          <p:nvPr>
            <p:ph type="ctrTitle"/>
          </p:nvPr>
        </p:nvSpPr>
        <p:spPr>
          <a:xfrm>
            <a:off x="50799" y="1507346"/>
            <a:ext cx="7181303" cy="2847548"/>
          </a:xfrm>
        </p:spPr>
        <p:txBody>
          <a:bodyPr>
            <a:normAutofit/>
          </a:bodyPr>
          <a:lstStyle/>
          <a:p>
            <a:br>
              <a:rPr lang="en-US" altLang="zh-CN" sz="6000" dirty="0"/>
            </a:br>
            <a:r>
              <a:rPr lang="zh-CN" altLang="en-US" sz="4445" dirty="0"/>
              <a:t>博世工业大数据质量预测赛</a:t>
            </a:r>
            <a:endParaRPr lang="zh-CN" altLang="en-US" sz="4445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838" y="288788"/>
            <a:ext cx="1391372" cy="378535"/>
          </a:xfrm>
          <a:prstGeom prst="rect">
            <a:avLst/>
          </a:prstGeom>
        </p:spPr>
      </p:pic>
      <p:pic>
        <p:nvPicPr>
          <p:cNvPr id="8" name="图片 7" descr="手机屏幕截图&#10;&#10;描述已自动生成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4891" y="101752"/>
            <a:ext cx="1456459" cy="721597"/>
          </a:xfrm>
          <a:prstGeom prst="rect">
            <a:avLst/>
          </a:prstGeom>
        </p:spPr>
      </p:pic>
      <p:pic>
        <p:nvPicPr>
          <p:cNvPr id="9" name="图片 8" descr="图片包含 游戏机, 画&#10;&#10;描述已自动生成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89" y="212526"/>
            <a:ext cx="833414" cy="5000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200"/>
              <a:t>特征工程</a:t>
            </a:r>
            <a:endParaRPr lang="zh-CN" altLang="en-US" sz="3200"/>
          </a:p>
        </p:txBody>
      </p:sp>
      <p:sp>
        <p:nvSpPr>
          <p:cNvPr id="9" name="î$ḷíḋé"/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10" name="图片 9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11" name="图片 10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特征工程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7" name="图片 6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8" name="图片 7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669925" y="1374140"/>
            <a:ext cx="10850245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检测结果参数基本统计特征</a:t>
            </a:r>
            <a:endParaRPr lang="zh-CN" altLang="en-US" sz="2400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053465" y="2028825"/>
            <a:ext cx="10850245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按照各个产品每个检测步骤（ID_F_PHASE_S）对检测结果参数（RESULT_VALUE）计算</a:t>
            </a:r>
            <a:r>
              <a:rPr lang="en-US" altLang="zh-CN" sz="2400">
                <a:sym typeface="+mn-ea"/>
              </a:rPr>
              <a:t>max</a:t>
            </a:r>
            <a:r>
              <a:rPr lang="zh-CN" altLang="en-US" sz="2400">
                <a:sym typeface="+mn-ea"/>
              </a:rPr>
              <a:t>，</a:t>
            </a:r>
            <a:r>
              <a:rPr lang="en-US" altLang="zh-CN" sz="2400">
                <a:sym typeface="+mn-ea"/>
              </a:rPr>
              <a:t>min</a:t>
            </a:r>
            <a:r>
              <a:rPr lang="zh-CN" altLang="en-US" sz="2400">
                <a:sym typeface="+mn-ea"/>
              </a:rPr>
              <a:t>，</a:t>
            </a:r>
            <a:r>
              <a:rPr lang="en-US" altLang="zh-CN" sz="2400">
                <a:sym typeface="+mn-ea"/>
              </a:rPr>
              <a:t>mean</a:t>
            </a:r>
            <a:r>
              <a:rPr lang="zh-CN" altLang="en-US" sz="2400">
                <a:sym typeface="+mn-ea"/>
              </a:rPr>
              <a:t>，</a:t>
            </a:r>
            <a:r>
              <a:rPr lang="en-US" altLang="zh-CN" sz="2400">
                <a:sym typeface="+mn-ea"/>
              </a:rPr>
              <a:t>median</a:t>
            </a:r>
            <a:r>
              <a:rPr lang="zh-CN" altLang="en-US" sz="2400">
                <a:sym typeface="+mn-ea"/>
              </a:rPr>
              <a:t>，</a:t>
            </a:r>
            <a:r>
              <a:rPr lang="en-US" altLang="zh-CN" sz="2400">
                <a:sym typeface="+mn-ea"/>
              </a:rPr>
              <a:t>5</a:t>
            </a:r>
            <a:r>
              <a:rPr lang="zh-CN" altLang="en-US" sz="2400">
                <a:sym typeface="+mn-ea"/>
              </a:rPr>
              <a:t>百分点等基本统计特征。</a:t>
            </a:r>
            <a:endParaRPr lang="zh-CN" altLang="en-US" sz="2400"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71195" y="3413760"/>
            <a:ext cx="10850245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检测参数序列号基本统计特征</a:t>
            </a:r>
            <a:endParaRPr lang="zh-CN" altLang="en-US" sz="2400">
              <a:sym typeface="+mn-ea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185545" y="4144010"/>
            <a:ext cx="10850245" cy="829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按照各个产品每个检测步骤对检测结果序列号（ID_F_PARAMETER_S）计算</a:t>
            </a:r>
            <a:r>
              <a:rPr lang="en-US" altLang="zh-CN" sz="2400">
                <a:sym typeface="+mn-ea"/>
              </a:rPr>
              <a:t>max</a:t>
            </a:r>
            <a:r>
              <a:rPr lang="zh-CN" altLang="en-US" sz="2400">
                <a:sym typeface="+mn-ea"/>
              </a:rPr>
              <a:t>，</a:t>
            </a:r>
            <a:r>
              <a:rPr lang="en-US" altLang="zh-CN" sz="2400">
                <a:sym typeface="+mn-ea"/>
              </a:rPr>
              <a:t>min</a:t>
            </a:r>
            <a:r>
              <a:rPr lang="zh-CN" altLang="en-US" sz="2400">
                <a:sym typeface="+mn-ea"/>
              </a:rPr>
              <a:t>，</a:t>
            </a:r>
            <a:r>
              <a:rPr lang="en-US" altLang="zh-CN" sz="2400">
                <a:sym typeface="+mn-ea"/>
              </a:rPr>
              <a:t>mean</a:t>
            </a:r>
            <a:r>
              <a:rPr lang="zh-CN" altLang="en-US" sz="2400">
                <a:sym typeface="+mn-ea"/>
              </a:rPr>
              <a:t>，</a:t>
            </a:r>
            <a:r>
              <a:rPr lang="en-US" altLang="zh-CN" sz="2400">
                <a:sym typeface="+mn-ea"/>
              </a:rPr>
              <a:t>median</a:t>
            </a:r>
            <a:r>
              <a:rPr lang="zh-CN" altLang="en-US" sz="2400">
                <a:sym typeface="+mn-ea"/>
              </a:rPr>
              <a:t>，</a:t>
            </a:r>
            <a:r>
              <a:rPr lang="en-US" altLang="zh-CN" sz="2400">
                <a:sym typeface="+mn-ea"/>
              </a:rPr>
              <a:t>5</a:t>
            </a:r>
            <a:r>
              <a:rPr lang="zh-CN" altLang="en-US" sz="2400">
                <a:sym typeface="+mn-ea"/>
              </a:rPr>
              <a:t>百分点等基本统计特征。</a:t>
            </a:r>
            <a:endParaRPr lang="zh-CN" altLang="en-US" sz="2400">
              <a:sym typeface="+mn-ea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71195" y="5386070"/>
            <a:ext cx="10850245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各个产品各检测步骤的记录数量</a:t>
            </a:r>
            <a:endParaRPr lang="zh-CN" altLang="en-US" sz="2400"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特征工程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7" name="图片 6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8" name="图片 7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669925" y="1374140"/>
            <a:ext cx="10850245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前三步骤基本统计特征</a:t>
            </a:r>
            <a:endParaRPr lang="zh-CN" altLang="en-US" sz="2400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053465" y="2028825"/>
            <a:ext cx="10850245" cy="829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统计各个产品前三个步骤中检测结果参数（RESULT_VALUE）计算</a:t>
            </a:r>
            <a:r>
              <a:rPr lang="en-US" altLang="zh-CN" sz="2400">
                <a:sym typeface="+mn-ea"/>
              </a:rPr>
              <a:t>max</a:t>
            </a:r>
            <a:r>
              <a:rPr lang="zh-CN" altLang="en-US" sz="2400">
                <a:sym typeface="+mn-ea"/>
              </a:rPr>
              <a:t>，</a:t>
            </a:r>
            <a:r>
              <a:rPr lang="en-US" altLang="zh-CN" sz="2400">
                <a:sym typeface="+mn-ea"/>
              </a:rPr>
              <a:t>min</a:t>
            </a:r>
            <a:r>
              <a:rPr lang="zh-CN" altLang="en-US" sz="2400">
                <a:sym typeface="+mn-ea"/>
              </a:rPr>
              <a:t>，</a:t>
            </a:r>
            <a:r>
              <a:rPr lang="en-US" altLang="zh-CN" sz="2400">
                <a:sym typeface="+mn-ea"/>
              </a:rPr>
              <a:t>mean</a:t>
            </a:r>
            <a:r>
              <a:rPr lang="zh-CN" altLang="en-US" sz="2400">
                <a:sym typeface="+mn-ea"/>
              </a:rPr>
              <a:t>，</a:t>
            </a:r>
            <a:r>
              <a:rPr lang="en-US" altLang="zh-CN" sz="2400">
                <a:sym typeface="+mn-ea"/>
              </a:rPr>
              <a:t>median</a:t>
            </a:r>
            <a:r>
              <a:rPr lang="zh-CN" altLang="en-US" sz="2400">
                <a:sym typeface="+mn-ea"/>
              </a:rPr>
              <a:t>，</a:t>
            </a:r>
            <a:r>
              <a:rPr lang="en-US" altLang="zh-CN" sz="2400">
                <a:sym typeface="+mn-ea"/>
              </a:rPr>
              <a:t>5</a:t>
            </a:r>
            <a:r>
              <a:rPr lang="zh-CN" altLang="en-US" sz="2400">
                <a:sym typeface="+mn-ea"/>
              </a:rPr>
              <a:t>百分点等基本统计特征。</a:t>
            </a:r>
            <a:endParaRPr lang="zh-CN" altLang="en-US" sz="2400"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1195" y="3352165"/>
            <a:ext cx="10850245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各检测步骤的高阶统计特征</a:t>
            </a:r>
            <a:endParaRPr lang="zh-CN" altLang="en-US" sz="2400"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185545" y="3982085"/>
            <a:ext cx="10850245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统计各个检测步骤中RESULT_VALUE的基本统计特征的</a:t>
            </a:r>
            <a:r>
              <a:rPr lang="en-US" altLang="zh-CN" sz="2400">
                <a:sym typeface="+mn-ea"/>
              </a:rPr>
              <a:t>mean,min,median</a:t>
            </a:r>
            <a:r>
              <a:rPr lang="zh-CN" altLang="en-US" sz="2400">
                <a:sym typeface="+mn-ea"/>
              </a:rPr>
              <a:t>等，然后计算各产品各个步骤RESULT_VALUE的基本统计特征与对应的高阶统计特征的差值。</a:t>
            </a:r>
            <a:endParaRPr lang="zh-CN" altLang="en-US" sz="2400"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特征工程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7" name="图片 6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8" name="图片 7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669925" y="1374140"/>
            <a:ext cx="10850245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类别特征生成</a:t>
            </a:r>
            <a:endParaRPr lang="zh-CN" altLang="en-US" sz="2400">
              <a:sym typeface="+mn-ea"/>
            </a:endParaRPr>
          </a:p>
        </p:txBody>
      </p:sp>
      <p:graphicFrame>
        <p:nvGraphicFramePr>
          <p:cNvPr id="9" name="表格 8"/>
          <p:cNvGraphicFramePr/>
          <p:nvPr/>
        </p:nvGraphicFramePr>
        <p:xfrm>
          <a:off x="796290" y="3567430"/>
          <a:ext cx="10889615" cy="24352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889615"/>
              </a:tblGrid>
              <a:tr h="243522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latin typeface="黑体" panose="02010609060101010101" pitchFamily="49" charset="-122"/>
                          <a:ea typeface="黑体" panose="02010609060101010101" pitchFamily="49" charset="-122"/>
                          <a:cs typeface="黑体" panose="02010609060101010101" pitchFamily="49" charset="-122"/>
                        </a:rPr>
                        <a:t>all_features["ID_F_PARAMETER_S_max"] = max_seq</a:t>
                      </a:r>
                      <a:endParaRPr lang="en-US" sz="2000" b="0">
                        <a:latin typeface="黑体" panose="02010609060101010101" pitchFamily="49" charset="-122"/>
                        <a:ea typeface="黑体" panose="02010609060101010101" pitchFamily="49" charset="-122"/>
                        <a:cs typeface="黑体" panose="02010609060101010101" pitchFamily="49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latin typeface="黑体" panose="02010609060101010101" pitchFamily="49" charset="-122"/>
                          <a:ea typeface="黑体" panose="02010609060101010101" pitchFamily="49" charset="-122"/>
                          <a:cs typeface="黑体" panose="02010609060101010101" pitchFamily="49" charset="-122"/>
                        </a:rPr>
                        <a:t>all_features["ID_F_PARAMETER_S_min"] = min_seq</a:t>
                      </a:r>
                      <a:endParaRPr lang="en-US" sz="2000" b="0">
                        <a:latin typeface="黑体" panose="02010609060101010101" pitchFamily="49" charset="-122"/>
                        <a:ea typeface="黑体" panose="02010609060101010101" pitchFamily="49" charset="-122"/>
                        <a:cs typeface="黑体" panose="02010609060101010101" pitchFamily="49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latin typeface="黑体" panose="02010609060101010101" pitchFamily="49" charset="-122"/>
                          <a:ea typeface="黑体" panose="02010609060101010101" pitchFamily="49" charset="-122"/>
                          <a:cs typeface="黑体" panose="02010609060101010101" pitchFamily="49" charset="-122"/>
                        </a:rPr>
                        <a:t>all_features["ID_F_PARAMETER_S_str"] = str(int(max_seq))+"_"+str(int(min_seq))</a:t>
                      </a:r>
                      <a:endParaRPr lang="en-US" sz="2000" b="0">
                        <a:latin typeface="黑体" panose="02010609060101010101" pitchFamily="49" charset="-122"/>
                        <a:ea typeface="黑体" panose="02010609060101010101" pitchFamily="49" charset="-122"/>
                        <a:cs typeface="黑体" panose="02010609060101010101" pitchFamily="49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latin typeface="黑体" panose="02010609060101010101" pitchFamily="49" charset="-122"/>
                          <a:ea typeface="黑体" panose="02010609060101010101" pitchFamily="49" charset="-122"/>
                          <a:cs typeface="黑体" panose="02010609060101010101" pitchFamily="49" charset="-122"/>
                        </a:rPr>
                        <a:t>all_features["type_s_str"]=all_features["type_number"]+"_"+all_features["ID_F_PARAMETER_S_str"]</a:t>
                      </a:r>
                      <a:endParaRPr lang="en-US" sz="2000" b="0">
                        <a:latin typeface="黑体" panose="02010609060101010101" pitchFamily="49" charset="-122"/>
                        <a:ea typeface="黑体" panose="02010609060101010101" pitchFamily="49" charset="-122"/>
                        <a:cs typeface="黑体" panose="02010609060101010101" pitchFamily="49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latin typeface="黑体" panose="02010609060101010101" pitchFamily="49" charset="-122"/>
                          <a:ea typeface="黑体" panose="02010609060101010101" pitchFamily="49" charset="-122"/>
                          <a:cs typeface="黑体" panose="02010609060101010101" pitchFamily="49" charset="-122"/>
                        </a:rPr>
                        <a:t>all_features["group_s_str"]=all_features["PRODUCTGROUP_NAME"]+"_"+all_features["ID_F_PARAMETER_S_str"]</a:t>
                      </a:r>
                      <a:endParaRPr lang="en-US" altLang="en-US" sz="2000" b="0">
                        <a:latin typeface="黑体" panose="02010609060101010101" pitchFamily="49" charset="-122"/>
                        <a:ea typeface="黑体" panose="02010609060101010101" pitchFamily="49" charset="-122"/>
                        <a:cs typeface="黑体" panose="02010609060101010101" pitchFamily="49" charset="-122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D7D7"/>
                    </a:solidFill>
                  </a:tcPr>
                </a:tc>
              </a:tr>
            </a:tbl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1068070" y="1742440"/>
            <a:ext cx="10850245" cy="1568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经观察发现，训练集中合格产品和不合格产品的ID_F_PARAMETER_S字段的分布有所不同，我们将各个产品前三步骤的ID_F_PARAMETER_S的min,max结合作为一个类别特征，并与type_number，PRODUCTGROUP_NAME字段进行结合构成另外两个类别特征。</a:t>
            </a:r>
            <a:endParaRPr lang="zh-CN" altLang="en-US" sz="2400"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特征工程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7" name="图片 6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8" name="图片 7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669925" y="1374140"/>
            <a:ext cx="10850245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类别特征处理</a:t>
            </a:r>
            <a:endParaRPr lang="zh-CN" altLang="en-US" sz="2400">
              <a:sym typeface="+mn-ea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052830" y="2195195"/>
            <a:ext cx="10850245" cy="829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 dirty="0">
                <a:sym typeface="+mn-ea"/>
              </a:rPr>
              <a:t>● </a:t>
            </a:r>
            <a:r>
              <a:rPr lang="zh-CN" altLang="en-US" sz="2400" dirty="0">
                <a:sym typeface="+mn-ea"/>
              </a:rPr>
              <a:t>对数据集中原本的类别特征以及我们自己生成的类别特征进行</a:t>
            </a:r>
            <a:r>
              <a:rPr lang="en-US" altLang="zh-CN" sz="2400" dirty="0">
                <a:sym typeface="+mn-ea"/>
              </a:rPr>
              <a:t>count</a:t>
            </a:r>
            <a:r>
              <a:rPr lang="zh-CN" altLang="en-US" sz="2400" dirty="0">
                <a:sym typeface="+mn-ea"/>
              </a:rPr>
              <a:t>编码。并对所有的</a:t>
            </a:r>
            <a:r>
              <a:rPr lang="en-US" altLang="zh-CN" sz="2400" dirty="0">
                <a:sym typeface="+mn-ea"/>
              </a:rPr>
              <a:t>count</a:t>
            </a:r>
            <a:r>
              <a:rPr lang="zh-CN" altLang="en-US" sz="2400" dirty="0">
                <a:sym typeface="+mn-ea"/>
              </a:rPr>
              <a:t>编码特征进行分箱处理，减小长尾分布的影响。</a:t>
            </a:r>
            <a:endParaRPr lang="zh-CN" altLang="en-US" sz="2400" dirty="0">
              <a:sym typeface="+mn-ea"/>
            </a:endParaRPr>
          </a:p>
        </p:txBody>
      </p:sp>
      <p:sp>
        <p:nvSpPr>
          <p:cNvPr id="9" name="文本框 12"/>
          <p:cNvSpPr txBox="1"/>
          <p:nvPr/>
        </p:nvSpPr>
        <p:spPr>
          <a:xfrm>
            <a:off x="574390" y="3691510"/>
            <a:ext cx="10850245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 dirty="0">
                <a:sym typeface="+mn-ea"/>
              </a:rPr>
              <a:t>● </a:t>
            </a:r>
            <a:r>
              <a:rPr lang="zh-CN" altLang="en-US" sz="2400" dirty="0">
                <a:sym typeface="+mn-ea"/>
              </a:rPr>
              <a:t>按照PRODUCTGROUP_NAME，type_number构建高阶统计特征</a:t>
            </a:r>
            <a:endParaRPr lang="zh-CN" altLang="en-US" sz="2400" dirty="0">
              <a:sym typeface="+mn-ea"/>
            </a:endParaRPr>
          </a:p>
        </p:txBody>
      </p:sp>
      <p:sp>
        <p:nvSpPr>
          <p:cNvPr id="11" name="文本框 9"/>
          <p:cNvSpPr txBox="1"/>
          <p:nvPr/>
        </p:nvSpPr>
        <p:spPr>
          <a:xfrm>
            <a:off x="1123343" y="4271930"/>
            <a:ext cx="10850245" cy="83099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 dirty="0">
                <a:sym typeface="+mn-ea"/>
              </a:rPr>
              <a:t>● </a:t>
            </a:r>
            <a:r>
              <a:rPr lang="zh-CN" altLang="en-US" sz="2400" dirty="0" smtClean="0">
                <a:sym typeface="+mn-ea"/>
              </a:rPr>
              <a:t>将各统计特征以及</a:t>
            </a:r>
            <a:r>
              <a:rPr lang="en-US" altLang="zh-CN" sz="2400" dirty="0" smtClean="0">
                <a:sym typeface="+mn-ea"/>
              </a:rPr>
              <a:t>count</a:t>
            </a:r>
            <a:r>
              <a:rPr lang="zh-CN" altLang="en-US" sz="2400" dirty="0" smtClean="0">
                <a:sym typeface="+mn-ea"/>
              </a:rPr>
              <a:t>编码特征</a:t>
            </a:r>
            <a:r>
              <a:rPr lang="zh-CN" altLang="en-US" sz="2400" dirty="0" smtClean="0">
                <a:sym typeface="+mn-ea"/>
              </a:rPr>
              <a:t>按照</a:t>
            </a:r>
            <a:r>
              <a:rPr lang="zh-CN" altLang="en-US" sz="2400" dirty="0" smtClean="0">
                <a:sym typeface="+mn-ea"/>
              </a:rPr>
              <a:t>PRODUCTGROUP_NAME，type_number 计算</a:t>
            </a:r>
            <a:r>
              <a:rPr lang="en-US" altLang="zh-CN" sz="2400" dirty="0" smtClean="0">
                <a:sym typeface="+mn-ea"/>
              </a:rPr>
              <a:t>mean,min</a:t>
            </a:r>
            <a:r>
              <a:rPr lang="zh-CN" altLang="en-US" sz="2400" dirty="0" smtClean="0">
                <a:sym typeface="+mn-ea"/>
              </a:rPr>
              <a:t>等，并计算这些数值特征与高阶统计特征的比值。</a:t>
            </a:r>
            <a:endParaRPr lang="zh-CN" altLang="en-US" sz="2400" dirty="0"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特征工程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7" name="图片 6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8" name="图片 7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  <p:pic>
        <p:nvPicPr>
          <p:cNvPr id="9" name="图片 8" descr="fe_imp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997585"/>
            <a:ext cx="6013450" cy="586041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1" name="文本框 3"/>
          <p:cNvSpPr txBox="1"/>
          <p:nvPr/>
        </p:nvSpPr>
        <p:spPr>
          <a:xfrm>
            <a:off x="6198222" y="1178943"/>
            <a:ext cx="5646776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特征选择</a:t>
            </a:r>
            <a:endParaRPr lang="zh-CN" altLang="en-US" sz="2400">
              <a:sym typeface="+mn-ea"/>
            </a:endParaRPr>
          </a:p>
        </p:txBody>
      </p:sp>
      <p:sp>
        <p:nvSpPr>
          <p:cNvPr id="12" name="文本框 9"/>
          <p:cNvSpPr txBox="1"/>
          <p:nvPr/>
        </p:nvSpPr>
        <p:spPr>
          <a:xfrm>
            <a:off x="6718812" y="1763954"/>
            <a:ext cx="4950460" cy="1938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由于特征工程产生了大量特征，所以要进行特征选择。采取</a:t>
            </a:r>
            <a:r>
              <a:rPr lang="en-US" altLang="zh-CN" sz="2400">
                <a:sym typeface="+mn-ea"/>
              </a:rPr>
              <a:t>null-importance</a:t>
            </a:r>
            <a:r>
              <a:rPr lang="zh-CN" altLang="en-US" sz="2400">
                <a:sym typeface="+mn-ea"/>
              </a:rPr>
              <a:t>方法进行特征选择，衡量各个参数对正确目标和随机目标的重要性差异。</a:t>
            </a:r>
            <a:endParaRPr lang="zh-CN" altLang="en-US" sz="2400">
              <a:sym typeface="+mn-ea"/>
            </a:endParaRPr>
          </a:p>
        </p:txBody>
      </p:sp>
      <p:sp>
        <p:nvSpPr>
          <p:cNvPr id="13" name="文本框 4"/>
          <p:cNvSpPr txBox="1"/>
          <p:nvPr/>
        </p:nvSpPr>
        <p:spPr>
          <a:xfrm>
            <a:off x="6714746" y="4141697"/>
            <a:ext cx="460375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>
                <a:sym typeface="+mn-ea"/>
              </a:rPr>
              <a:t>● </a:t>
            </a:r>
            <a:r>
              <a:rPr lang="zh-CN" altLang="en-US">
                <a:sym typeface="+mn-ea"/>
              </a:rPr>
              <a:t>参考链接</a:t>
            </a:r>
            <a:r>
              <a:rPr lang="zh-CN" altLang="en-US">
                <a:hlinkClick r:id="rId5" action="ppaction://hlinkfile"/>
              </a:rPr>
              <a:t>https://www.kaggle.com/ogrellier/feature-selection-with-null-importances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200"/>
              <a:t>模型构建</a:t>
            </a:r>
            <a:endParaRPr lang="zh-CN" altLang="en-US" sz="3200"/>
          </a:p>
        </p:txBody>
      </p:sp>
      <p:sp>
        <p:nvSpPr>
          <p:cNvPr id="9" name="î$ḷíḋé"/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10" name="图片 9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11" name="图片 10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型构建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7" name="图片 6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8" name="图片 7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669925" y="1374140"/>
            <a:ext cx="10850245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lightgbm</a:t>
            </a:r>
            <a:endParaRPr lang="en-US" altLang="zh-CN" sz="2400"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992505" y="2059305"/>
            <a:ext cx="10850245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</a:t>
            </a:r>
            <a:r>
              <a:rPr lang="zh-CN" altLang="en-US" sz="2400">
                <a:sym typeface="+mn-ea"/>
              </a:rPr>
              <a:t>祖传参数，没有对类别不均衡进行特殊处理</a:t>
            </a:r>
            <a:endParaRPr lang="en-US" altLang="zh-CN" sz="2400">
              <a:sym typeface="+mn-ea"/>
            </a:endParaRPr>
          </a:p>
        </p:txBody>
      </p:sp>
      <p:graphicFrame>
        <p:nvGraphicFramePr>
          <p:cNvPr id="5" name="表格 4"/>
          <p:cNvGraphicFramePr/>
          <p:nvPr/>
        </p:nvGraphicFramePr>
        <p:xfrm>
          <a:off x="1128395" y="2637155"/>
          <a:ext cx="6151245" cy="362140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151245"/>
              </a:tblGrid>
              <a:tr h="362140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800" b="0">
                          <a:latin typeface="黑体" panose="02010609060101010101" pitchFamily="49" charset="-122"/>
                          <a:ea typeface="黑体" panose="02010609060101010101" pitchFamily="49" charset="-122"/>
                          <a:cs typeface="黑体" panose="02010609060101010101" pitchFamily="49" charset="-122"/>
                        </a:rPr>
                        <a:t>params = {</a:t>
                      </a:r>
                      <a:endParaRPr lang="en-US" sz="2800" b="0">
                        <a:latin typeface="黑体" panose="02010609060101010101" pitchFamily="49" charset="-122"/>
                        <a:ea typeface="黑体" panose="02010609060101010101" pitchFamily="49" charset="-122"/>
                        <a:cs typeface="黑体" panose="02010609060101010101" pitchFamily="49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800" b="0">
                          <a:latin typeface="黑体" panose="02010609060101010101" pitchFamily="49" charset="-122"/>
                          <a:ea typeface="黑体" panose="02010609060101010101" pitchFamily="49" charset="-122"/>
                          <a:cs typeface="黑体" panose="02010609060101010101" pitchFamily="49" charset="-122"/>
                        </a:rPr>
                        <a:t>    'n_estimators': 5000,</a:t>
                      </a:r>
                      <a:endParaRPr lang="en-US" sz="2800" b="0">
                        <a:latin typeface="黑体" panose="02010609060101010101" pitchFamily="49" charset="-122"/>
                        <a:ea typeface="黑体" panose="02010609060101010101" pitchFamily="49" charset="-122"/>
                        <a:cs typeface="黑体" panose="02010609060101010101" pitchFamily="49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800" b="0">
                          <a:latin typeface="黑体" panose="02010609060101010101" pitchFamily="49" charset="-122"/>
                          <a:ea typeface="黑体" panose="02010609060101010101" pitchFamily="49" charset="-122"/>
                          <a:cs typeface="黑体" panose="02010609060101010101" pitchFamily="49" charset="-122"/>
                        </a:rPr>
                        <a:t>    'boosting_type': 'gbdt',</a:t>
                      </a:r>
                      <a:endParaRPr lang="en-US" sz="2800" b="0">
                        <a:latin typeface="黑体" panose="02010609060101010101" pitchFamily="49" charset="-122"/>
                        <a:ea typeface="黑体" panose="02010609060101010101" pitchFamily="49" charset="-122"/>
                        <a:cs typeface="黑体" panose="02010609060101010101" pitchFamily="49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800" b="0">
                          <a:latin typeface="黑体" panose="02010609060101010101" pitchFamily="49" charset="-122"/>
                          <a:ea typeface="黑体" panose="02010609060101010101" pitchFamily="49" charset="-122"/>
                          <a:cs typeface="黑体" panose="02010609060101010101" pitchFamily="49" charset="-122"/>
                        </a:rPr>
                        <a:t>    'objective': 'binary',</a:t>
                      </a:r>
                      <a:endParaRPr lang="en-US" sz="2800" b="0">
                        <a:latin typeface="黑体" panose="02010609060101010101" pitchFamily="49" charset="-122"/>
                        <a:ea typeface="黑体" panose="02010609060101010101" pitchFamily="49" charset="-122"/>
                        <a:cs typeface="黑体" panose="02010609060101010101" pitchFamily="49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800" b="0">
                          <a:latin typeface="黑体" panose="02010609060101010101" pitchFamily="49" charset="-122"/>
                          <a:ea typeface="黑体" panose="02010609060101010101" pitchFamily="49" charset="-122"/>
                          <a:cs typeface="黑体" panose="02010609060101010101" pitchFamily="49" charset="-122"/>
                        </a:rPr>
                        <a:t>    'n_thread':4,</a:t>
                      </a:r>
                      <a:endParaRPr lang="en-US" sz="2800" b="0">
                        <a:latin typeface="黑体" panose="02010609060101010101" pitchFamily="49" charset="-122"/>
                        <a:ea typeface="黑体" panose="02010609060101010101" pitchFamily="49" charset="-122"/>
                        <a:cs typeface="黑体" panose="02010609060101010101" pitchFamily="49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800" b="0">
                          <a:latin typeface="黑体" panose="02010609060101010101" pitchFamily="49" charset="-122"/>
                          <a:ea typeface="黑体" panose="02010609060101010101" pitchFamily="49" charset="-122"/>
                          <a:cs typeface="黑体" panose="02010609060101010101" pitchFamily="49" charset="-122"/>
                        </a:rPr>
                        <a:t>    'early_stopping_rounds': 100,</a:t>
                      </a:r>
                      <a:endParaRPr lang="en-US" sz="2800" b="0">
                        <a:latin typeface="黑体" panose="02010609060101010101" pitchFamily="49" charset="-122"/>
                        <a:ea typeface="黑体" panose="02010609060101010101" pitchFamily="49" charset="-122"/>
                        <a:cs typeface="黑体" panose="02010609060101010101" pitchFamily="49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800" b="0">
                          <a:latin typeface="黑体" panose="02010609060101010101" pitchFamily="49" charset="-122"/>
                          <a:ea typeface="黑体" panose="02010609060101010101" pitchFamily="49" charset="-122"/>
                          <a:cs typeface="黑体" panose="02010609060101010101" pitchFamily="49" charset="-122"/>
                        </a:rPr>
                        <a:t>}</a:t>
                      </a:r>
                      <a:endParaRPr lang="en-US" altLang="en-US" sz="2800" b="0">
                        <a:latin typeface="黑体" panose="02010609060101010101" pitchFamily="49" charset="-122"/>
                        <a:ea typeface="黑体" panose="02010609060101010101" pitchFamily="49" charset="-122"/>
                        <a:cs typeface="黑体" panose="02010609060101010101" pitchFamily="49" charset="-122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D7D7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200"/>
              <a:t>结果和总结</a:t>
            </a:r>
            <a:endParaRPr lang="zh-CN" altLang="en-US" sz="3200"/>
          </a:p>
        </p:txBody>
      </p:sp>
      <p:sp>
        <p:nvSpPr>
          <p:cNvPr id="9" name="î$ḷíḋé"/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10" name="图片 9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11" name="图片 10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结果和总结</a:t>
            </a:r>
            <a:endParaRPr lang="zh-CN" altLang="en-US"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7" name="图片 6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8" name="图片 7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669925" y="1374140"/>
            <a:ext cx="10850245" cy="460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400">
                <a:sym typeface="+mn-ea"/>
              </a:rPr>
              <a:t>● A</a:t>
            </a:r>
            <a:r>
              <a:rPr lang="zh-CN" altLang="en-US" sz="2400">
                <a:sym typeface="+mn-ea"/>
              </a:rPr>
              <a:t>榜的过拟合</a:t>
            </a:r>
            <a:endParaRPr lang="zh-CN" altLang="en-US" sz="2400">
              <a:sym typeface="+mn-ea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960755" y="1834515"/>
            <a:ext cx="10850245" cy="13220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2000">
                <a:sym typeface="+mn-ea"/>
              </a:rPr>
              <a:t>● </a:t>
            </a:r>
            <a:r>
              <a:rPr lang="zh-CN" altLang="en-US" sz="2000">
                <a:sym typeface="+mn-ea"/>
              </a:rPr>
              <a:t>从模型的特征重要性结果上看，模型过度依赖各类别特征的</a:t>
            </a:r>
            <a:r>
              <a:rPr lang="en-US" altLang="zh-CN" sz="2000">
                <a:sym typeface="+mn-ea"/>
              </a:rPr>
              <a:t>count</a:t>
            </a:r>
            <a:r>
              <a:rPr lang="zh-CN" altLang="en-US" sz="2000">
                <a:sym typeface="+mn-ea"/>
              </a:rPr>
              <a:t>编码。这对小数据集是不好的。因为数据量小，分割之后的数据集在类别特征的分布会有较大的差异，可能存在较大的过拟合风险。对于类别特征的处理，可以从多个角度进行建模，如</a:t>
            </a:r>
            <a:r>
              <a:rPr lang="en-US" altLang="zh-CN" sz="2000">
                <a:sym typeface="+mn-ea"/>
              </a:rPr>
              <a:t>one-hot</a:t>
            </a:r>
            <a:r>
              <a:rPr lang="zh-CN" altLang="en-US" sz="2000">
                <a:sym typeface="+mn-ea"/>
              </a:rPr>
              <a:t>编码，</a:t>
            </a:r>
            <a:r>
              <a:rPr lang="en-US" altLang="zh-CN" sz="2000">
                <a:sym typeface="+mn-ea"/>
              </a:rPr>
              <a:t>count</a:t>
            </a:r>
            <a:r>
              <a:rPr lang="zh-CN" altLang="en-US" sz="2000">
                <a:sym typeface="+mn-ea"/>
              </a:rPr>
              <a:t>编码，</a:t>
            </a:r>
            <a:r>
              <a:rPr lang="en-US" altLang="zh-CN" sz="2000">
                <a:sym typeface="+mn-ea"/>
              </a:rPr>
              <a:t>mean</a:t>
            </a:r>
            <a:r>
              <a:rPr lang="zh-CN" altLang="en-US" sz="2000">
                <a:sym typeface="+mn-ea"/>
              </a:rPr>
              <a:t>编码，</a:t>
            </a:r>
            <a:r>
              <a:rPr lang="en-US" altLang="zh-CN" sz="2000">
                <a:sym typeface="+mn-ea"/>
              </a:rPr>
              <a:t>embedding</a:t>
            </a:r>
            <a:r>
              <a:rPr lang="zh-CN" altLang="en-US" sz="2000">
                <a:sym typeface="+mn-ea"/>
              </a:rPr>
              <a:t>等等来增加模型的鲁棒性。</a:t>
            </a:r>
            <a:endParaRPr lang="zh-CN" altLang="en-US" sz="2000">
              <a:sym typeface="+mn-ea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450" y="3156585"/>
            <a:ext cx="10877550" cy="2971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î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íSliḓè"/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Sļïd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îṩḷiḓè"/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indent="0">
                  <a:lnSpc>
                    <a:spcPct val="150000"/>
                  </a:lnSpc>
                  <a:buFont typeface="+mj-lt"/>
                  <a:buNone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 1.  </a:t>
                </a: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聂宏蓄  华南理工大学</a:t>
                </a:r>
                <a:endParaRPr lang="zh-CN" altLang="en-US" sz="2400" b="0" dirty="0">
                  <a:latin typeface="+mn-lt"/>
                  <a:ea typeface="+mn-ea"/>
                  <a:sym typeface="+mn-lt"/>
                </a:endParaRPr>
              </a:p>
              <a:p>
                <a:pPr indent="0">
                  <a:lnSpc>
                    <a:spcPct val="150000"/>
                  </a:lnSpc>
                  <a:buFont typeface="+mj-lt"/>
                  <a:buNone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      </a:t>
                </a: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数据分析，模型构建</a:t>
                </a:r>
                <a:endParaRPr lang="zh-CN" altLang="en-US" sz="28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îŝľiḋê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sľiďé"/>
              <p:cNvSpPr txBox="1"/>
              <p:nvPr/>
            </p:nvSpPr>
            <p:spPr>
              <a:xfrm>
                <a:off x="1175743" y="1700808"/>
                <a:ext cx="2521108" cy="52197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成员介绍</a:t>
                </a:r>
                <a:endParaRPr lang="zh-CN" alt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ïṩļiḋe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12" name="图片 11" descr="手机屏幕截图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13" name="图片 12" descr="图片包含 游戏机, 画&#10;&#10;描述已自动生成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E8FF">
            <a:alpha val="0"/>
          </a:srgbClr>
        </a:solidFill>
        <a:effectLst/>
      </p:bgPr>
    </p:bg>
    <p:spTree>
      <p:nvGrpSpPr>
        <p:cNvPr id="1" name="i$ľí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ḻiḓé" hidden="1"/>
          <p:cNvGraphicFramePr/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2" imgW="9525" imgH="9525" progId="">
                  <p:embed/>
                </p:oleObj>
              </mc:Choice>
              <mc:Fallback>
                <p:oleObj name="think-cell Slide" r:id="rId2" imgW="9525" imgH="9525" progId="">
                  <p:embed/>
                  <p:pic>
                    <p:nvPicPr>
                      <p:cNvPr id="0" name="íṩ1iḑé" descr="image1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šľïďe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ṧļîḋê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9600" dirty="0"/>
              <a:t>thanks</a:t>
            </a:r>
            <a:r>
              <a:rPr lang="en-US" altLang="zh-CN" sz="9600" dirty="0" smtClean="0"/>
              <a:t>!</a:t>
            </a:r>
            <a:endParaRPr lang="zh-CN" altLang="en-US" dirty="0"/>
          </a:p>
        </p:txBody>
      </p:sp>
      <p:sp>
        <p:nvSpPr>
          <p:cNvPr id="6" name="iṡ1iḋê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2400" dirty="0" smtClean="0"/>
              <a:t>汇报人：聂宏蓄</a:t>
            </a:r>
            <a:endParaRPr lang="en-US" altLang="zh-CN" sz="2400" dirty="0"/>
          </a:p>
        </p:txBody>
      </p:sp>
      <p:cxnSp>
        <p:nvCxnSpPr>
          <p:cNvPr id="13" name="îṣlíḍe"/>
          <p:cNvCxnSpPr/>
          <p:nvPr/>
        </p:nvCxnSpPr>
        <p:spPr>
          <a:xfrm>
            <a:off x="2757714" y="5090631"/>
            <a:ext cx="554445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ïSḻíďê"/>
          <p:cNvCxnSpPr/>
          <p:nvPr/>
        </p:nvCxnSpPr>
        <p:spPr>
          <a:xfrm>
            <a:off x="3521651" y="4770127"/>
            <a:ext cx="383709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图片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838" y="288788"/>
            <a:ext cx="1391372" cy="378535"/>
          </a:xfrm>
          <a:prstGeom prst="rect">
            <a:avLst/>
          </a:prstGeom>
        </p:spPr>
      </p:pic>
      <p:pic>
        <p:nvPicPr>
          <p:cNvPr id="12" name="图片 11" descr="手机屏幕截图&#10;&#10;描述已自动生成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4891" y="101752"/>
            <a:ext cx="1456459" cy="721597"/>
          </a:xfrm>
          <a:prstGeom prst="rect">
            <a:avLst/>
          </a:prstGeom>
        </p:spPr>
      </p:pic>
      <p:pic>
        <p:nvPicPr>
          <p:cNvPr id="15" name="图片 14" descr="图片包含 游戏机, 画&#10;&#10;描述已自动生成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89" y="212526"/>
            <a:ext cx="833414" cy="5000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î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íSliḓè"/>
          <p:cNvGrpSpPr/>
          <p:nvPr/>
        </p:nvGrpSpPr>
        <p:grpSpPr>
          <a:xfrm>
            <a:off x="757282" y="1700790"/>
            <a:ext cx="10632395" cy="4083626"/>
            <a:chOff x="757282" y="1700790"/>
            <a:chExt cx="10632395" cy="4083626"/>
          </a:xfrm>
        </p:grpSpPr>
        <p:grpSp>
          <p:nvGrpSpPr>
            <p:cNvPr id="6" name="íSļïd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790"/>
              <a:ext cx="10632395" cy="4083626"/>
              <a:chOff x="1175743" y="1700790"/>
              <a:chExt cx="10219020" cy="4083626"/>
            </a:xfrm>
          </p:grpSpPr>
          <p:sp>
            <p:nvSpPr>
              <p:cNvPr id="7" name="îṩḷiḓè"/>
              <p:cNvSpPr txBox="1"/>
              <p:nvPr/>
            </p:nvSpPr>
            <p:spPr bwMode="auto">
              <a:xfrm>
                <a:off x="3696468" y="170079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indent="0">
                  <a:lnSpc>
                    <a:spcPct val="150000"/>
                  </a:lnSpc>
                  <a:buFont typeface="+mj-lt"/>
                  <a:buNone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 1.  </a:t>
                </a:r>
                <a:r>
                  <a:rPr lang="zh-CN" altLang="en-US" sz="2800">
                    <a:sym typeface="+mn-ea"/>
                  </a:rPr>
                  <a:t>问题简述</a:t>
                </a:r>
                <a:endParaRPr lang="zh-CN" altLang="en-US" sz="2800"/>
              </a:p>
              <a:p>
                <a:pPr algn="l">
                  <a:lnSpc>
                    <a:spcPct val="150000"/>
                  </a:lnSpc>
                  <a:buClrTx/>
                  <a:buSzTx/>
                  <a:buFont typeface="+mj-lt"/>
                  <a:buNone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 2.  </a:t>
                </a:r>
                <a:r>
                  <a:rPr lang="zh-CN" altLang="en-US" sz="2800">
                    <a:sym typeface="+mn-ea"/>
                  </a:rPr>
                  <a:t>数据探索</a:t>
                </a:r>
                <a:endParaRPr lang="en-US" altLang="zh-CN" sz="2400" b="0" dirty="0">
                  <a:latin typeface="+mn-lt"/>
                  <a:ea typeface="+mn-ea"/>
                </a:endParaRPr>
              </a:p>
              <a:p>
                <a:pPr indent="0">
                  <a:lnSpc>
                    <a:spcPct val="150000"/>
                  </a:lnSpc>
                  <a:buFont typeface="+mj-lt"/>
                  <a:buNone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 3.  </a:t>
                </a:r>
                <a:r>
                  <a:rPr lang="zh-CN" altLang="en-US" sz="2800">
                    <a:sym typeface="+mn-ea"/>
                  </a:rPr>
                  <a:t>特征工程</a:t>
                </a:r>
                <a:endParaRPr lang="zh-CN" altLang="en-US" sz="2400"/>
              </a:p>
              <a:p>
                <a:pPr indent="0">
                  <a:lnSpc>
                    <a:spcPct val="150000"/>
                  </a:lnSpc>
                  <a:buFont typeface="+mj-lt"/>
                  <a:buNone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 4.  </a:t>
                </a:r>
                <a:r>
                  <a:rPr lang="zh-CN" altLang="en-US" sz="2800">
                    <a:sym typeface="+mn-ea"/>
                  </a:rPr>
                  <a:t>模型构建</a:t>
                </a:r>
                <a:endParaRPr lang="zh-CN" altLang="en-US" sz="2400"/>
              </a:p>
              <a:p>
                <a:pPr indent="0">
                  <a:lnSpc>
                    <a:spcPct val="150000"/>
                  </a:lnSpc>
                  <a:buFont typeface="+mj-lt"/>
                  <a:buNone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 5.  </a:t>
                </a:r>
                <a:r>
                  <a:rPr lang="zh-CN" altLang="en-US" sz="2800">
                    <a:sym typeface="+mn-ea"/>
                  </a:rPr>
                  <a:t>结果和总结</a:t>
                </a:r>
                <a:endParaRPr lang="zh-CN" altLang="en-US" sz="2800">
                  <a:sym typeface="+mn-lt"/>
                </a:endParaRPr>
              </a:p>
            </p:txBody>
          </p:sp>
          <p:cxnSp>
            <p:nvCxnSpPr>
              <p:cNvPr id="8" name="îŝľiḋê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sľiďé"/>
              <p:cNvSpPr txBox="1"/>
              <p:nvPr/>
            </p:nvSpPr>
            <p:spPr>
              <a:xfrm>
                <a:off x="1175743" y="1700808"/>
                <a:ext cx="2521108" cy="52197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内容</a:t>
                </a:r>
                <a:endParaRPr lang="zh-CN" alt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ïṩļiḋe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12" name="图片 11" descr="手机屏幕截图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13" name="图片 12" descr="图片包含 游戏机, 画&#10;&#10;描述已自动生成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200"/>
              <a:t>问题简述</a:t>
            </a:r>
            <a:endParaRPr lang="zh-CN" altLang="en-US" sz="3200"/>
          </a:p>
        </p:txBody>
      </p:sp>
      <p:sp>
        <p:nvSpPr>
          <p:cNvPr id="9" name="î$ḷíḋé"/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10" name="图片 9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11" name="图片 10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问题简述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7" name="图片 6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8" name="图片 7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69925" y="1289685"/>
            <a:ext cx="1085088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/>
              <a:t>● 传统制造业工厂的产品检测流程较为复杂，如检测结果发现不良品率需要返工，返工后仍然对是否能通过测试存在不确定性</a:t>
            </a:r>
            <a:r>
              <a:rPr lang="zh-CN" altLang="en-US" sz="2400"/>
              <a:t>。</a:t>
            </a:r>
            <a:r>
              <a:rPr lang="en-US" altLang="zh-CN" sz="2400"/>
              <a:t>通过机器学习方法检测历史数据有助于预测不良品，优化工序和提升效率。 </a:t>
            </a:r>
            <a:endParaRPr lang="zh-CN" altLang="en-US" sz="2400"/>
          </a:p>
        </p:txBody>
      </p:sp>
      <p:sp>
        <p:nvSpPr>
          <p:cNvPr id="5" name="文本框 4"/>
          <p:cNvSpPr txBox="1"/>
          <p:nvPr/>
        </p:nvSpPr>
        <p:spPr>
          <a:xfrm>
            <a:off x="669925" y="2488565"/>
            <a:ext cx="1085088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/>
              <a:t>● </a:t>
            </a:r>
            <a:r>
              <a:rPr lang="zh-CN" altLang="en-US" sz="2400"/>
              <a:t>本次比赛中，提供了每种产品各个检测工序中各个步骤的反馈结果和参数。若产品检测在各个检测步骤皆为合格，则该产品最终结果为合格；若产品在某一个检测步骤中反馈为不合格，则该产品最终结果为不合格。</a:t>
            </a:r>
            <a:endParaRPr lang="zh-CN" altLang="en-US" sz="2400"/>
          </a:p>
        </p:txBody>
      </p:sp>
      <p:sp>
        <p:nvSpPr>
          <p:cNvPr id="9" name="文本框 8"/>
          <p:cNvSpPr txBox="1"/>
          <p:nvPr/>
        </p:nvSpPr>
        <p:spPr>
          <a:xfrm>
            <a:off x="669925" y="5208270"/>
            <a:ext cx="1085088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/>
              <a:t>● </a:t>
            </a:r>
            <a:r>
              <a:rPr lang="zh-CN" altLang="en-US" sz="2400"/>
              <a:t>结构化数据处理；二分类问题。</a:t>
            </a:r>
            <a:endParaRPr lang="zh-CN" altLang="en-US" sz="2400"/>
          </a:p>
        </p:txBody>
      </p:sp>
      <p:sp>
        <p:nvSpPr>
          <p:cNvPr id="11" name="文本框 10"/>
          <p:cNvSpPr txBox="1"/>
          <p:nvPr/>
        </p:nvSpPr>
        <p:spPr>
          <a:xfrm>
            <a:off x="669925" y="3817620"/>
            <a:ext cx="1085088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/>
              <a:t>● </a:t>
            </a:r>
            <a:r>
              <a:rPr lang="zh-CN" altLang="en-US" sz="2400"/>
              <a:t>训练集包括</a:t>
            </a:r>
            <a:r>
              <a:rPr lang="en-US" altLang="zh-CN" sz="2400"/>
              <a:t>11</a:t>
            </a:r>
            <a:r>
              <a:rPr lang="zh-CN" altLang="en-US" sz="2400"/>
              <a:t>个产品家族的</a:t>
            </a:r>
            <a:r>
              <a:rPr lang="en-US" altLang="zh-CN" sz="2400"/>
              <a:t>64</a:t>
            </a:r>
            <a:r>
              <a:rPr lang="zh-CN" altLang="en-US" sz="2400"/>
              <a:t>个类型产品的检测数据。测试集分为两部分，一个仅包含各产品的前三个检测步骤的检测数据，另一个包含各产品的前十个检测步骤的检测数据。</a:t>
            </a:r>
            <a:endParaRPr lang="zh-CN" altLang="en-US" sz="2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200"/>
              <a:t>数据探索</a:t>
            </a:r>
            <a:endParaRPr lang="zh-CN" altLang="en-US" sz="3200"/>
          </a:p>
        </p:txBody>
      </p:sp>
      <p:sp>
        <p:nvSpPr>
          <p:cNvPr id="9" name="î$ḷíḋé"/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10" name="图片 9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11" name="图片 10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数据探索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7" name="图片 6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8" name="图片 7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4843145" y="1028700"/>
            <a:ext cx="109093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/>
              <a:t>各数据缺失值占比</a:t>
            </a:r>
            <a:endParaRPr lang="zh-CN" altLang="en-US" b="1"/>
          </a:p>
        </p:txBody>
      </p:sp>
      <p:graphicFrame>
        <p:nvGraphicFramePr>
          <p:cNvPr id="5" name="表格 4"/>
          <p:cNvGraphicFramePr/>
          <p:nvPr>
            <p:custDataLst>
              <p:tags r:id="rId4"/>
            </p:custDataLst>
          </p:nvPr>
        </p:nvGraphicFramePr>
        <p:xfrm>
          <a:off x="1918970" y="1520190"/>
          <a:ext cx="8352155" cy="473837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15920"/>
                <a:gridCol w="1784350"/>
                <a:gridCol w="1813560"/>
                <a:gridCol w="1838325"/>
              </a:tblGrid>
              <a:tr h="29400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缺失比例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Train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Test_4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Test_11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88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D_F_PHASE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24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ESULT_STRING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95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0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93.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24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ESULT_VALUE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4.8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.3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0.2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24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ARAMETER_RESULT_STATE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.3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.2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88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LOWER_LIMIT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64.3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92.5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73.4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24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PPER_LIMIT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60.6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92.5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77.4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24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XIS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7.5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2.2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6.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861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IDE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9.7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4.1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051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D_F_PHASE_S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861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D_F_PARAMETER_S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.2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227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D_F_PROCESS/Product_ID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88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HASE_RESULT_STATE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24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TYPE_NUMBER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24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RODUCTGROUP_NAME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%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数据探索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7" name="图片 6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8" name="图片 7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69925" y="1386205"/>
            <a:ext cx="350075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/>
              <a:t>● </a:t>
            </a:r>
            <a:r>
              <a:rPr lang="zh-CN" altLang="en-US" sz="2400"/>
              <a:t>舍弃缺失率高的字段</a:t>
            </a:r>
            <a:endParaRPr lang="zh-CN" altLang="en-US" sz="2400"/>
          </a:p>
        </p:txBody>
      </p:sp>
      <p:sp>
        <p:nvSpPr>
          <p:cNvPr id="3" name="文本框 2"/>
          <p:cNvSpPr txBox="1"/>
          <p:nvPr/>
        </p:nvSpPr>
        <p:spPr>
          <a:xfrm>
            <a:off x="669925" y="3199130"/>
            <a:ext cx="591629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lang="en-US" altLang="zh-CN" sz="2400"/>
              <a:t>● </a:t>
            </a:r>
            <a:r>
              <a:rPr lang="zh-CN" altLang="en-US" sz="2400"/>
              <a:t>PARAMETER_RESULT_STATE字段</a:t>
            </a:r>
            <a:endParaRPr lang="zh-CN" altLang="en-US" sz="2400"/>
          </a:p>
        </p:txBody>
      </p:sp>
      <p:sp>
        <p:nvSpPr>
          <p:cNvPr id="4" name="文本框 3"/>
          <p:cNvSpPr txBox="1"/>
          <p:nvPr/>
        </p:nvSpPr>
        <p:spPr>
          <a:xfrm>
            <a:off x="1083310" y="2037715"/>
            <a:ext cx="1043749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/>
              <a:t>● </a:t>
            </a:r>
            <a:r>
              <a:rPr lang="zh-CN" altLang="en-US" sz="2400"/>
              <a:t>数据字段</a:t>
            </a:r>
            <a:r>
              <a:rPr lang="zh-CN" altLang="en-US" sz="2400">
                <a:sym typeface="+mn-ea"/>
              </a:rPr>
              <a:t>RESULT_STRING,LOWER_LIMIT,UPPER_LIMIT在测试集中缺失比超过90%，直接舍弃。</a:t>
            </a:r>
            <a:endParaRPr lang="zh-CN" altLang="en-US" sz="2400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179830" y="3876675"/>
            <a:ext cx="1043749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/>
              <a:t>● </a:t>
            </a:r>
            <a:r>
              <a:rPr lang="zh-CN" altLang="en-US" sz="2400"/>
              <a:t>该字段反应某个步骤的检测结果，在训练集中和预测目标直接对应，在测试集中该字段的值唯一，所以选择舍弃。</a:t>
            </a:r>
            <a:endParaRPr lang="zh-CN" altLang="en-US" sz="2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数据探索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511" y="6345741"/>
            <a:ext cx="1391372" cy="378535"/>
          </a:xfrm>
          <a:prstGeom prst="rect">
            <a:avLst/>
          </a:prstGeom>
        </p:spPr>
      </p:pic>
      <p:pic>
        <p:nvPicPr>
          <p:cNvPr id="7" name="图片 6" descr="手机屏幕截图&#10;&#10;描述已自动生成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564" y="6136403"/>
            <a:ext cx="1456459" cy="721597"/>
          </a:xfrm>
          <a:prstGeom prst="rect">
            <a:avLst/>
          </a:prstGeom>
        </p:spPr>
      </p:pic>
      <p:pic>
        <p:nvPicPr>
          <p:cNvPr id="8" name="图片 7" descr="图片包含 游戏机, 画&#10;&#10;描述已自动生成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62" y="6258328"/>
            <a:ext cx="833414" cy="500048"/>
          </a:xfrm>
          <a:prstGeom prst="rect">
            <a:avLst/>
          </a:prstGeom>
        </p:spPr>
      </p:pic>
      <p:pic>
        <p:nvPicPr>
          <p:cNvPr id="1073742854" name="图片 1073742853" descr="1(b)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9365" y="1186180"/>
            <a:ext cx="4295140" cy="36671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73742853" name="图片 1073742852" descr="1(a)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7435" y="1279525"/>
            <a:ext cx="4142105" cy="357378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" name="文本框 2"/>
          <p:cNvSpPr txBox="1"/>
          <p:nvPr/>
        </p:nvSpPr>
        <p:spPr>
          <a:xfrm>
            <a:off x="1523365" y="4853305"/>
            <a:ext cx="401383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训练集中各产品的记录数量分布</a:t>
            </a:r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6695440" y="4853305"/>
            <a:ext cx="44208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前三步骤测试集中各产品的记录数量分布</a:t>
            </a:r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1067435" y="5423535"/>
            <a:ext cx="1017016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dirty="0">
                <a:sym typeface="+mn-ea"/>
              </a:rPr>
              <a:t>● </a:t>
            </a:r>
            <a:r>
              <a:rPr lang="zh-CN" altLang="en-US">
                <a:sym typeface="+mn-ea"/>
              </a:rPr>
              <a:t>部分产品的检测记录大量缺失。这些产品的结果难以被模型预测，我们将该部分数据视为噪声并排除。经观察，训练集中检测记录大量缺失的产品大多</a:t>
            </a:r>
            <a:r>
              <a:rPr lang="zh-CN" altLang="en-US" smtClean="0">
                <a:sym typeface="+mn-ea"/>
              </a:rPr>
              <a:t>为不合</a:t>
            </a:r>
            <a:r>
              <a:rPr lang="zh-CN" altLang="en-US">
                <a:sym typeface="+mn-ea"/>
              </a:rPr>
              <a:t>格产品，我们选择直接将测试集中记录大量缺失的产品视</a:t>
            </a:r>
            <a:r>
              <a:rPr lang="zh-CN" altLang="en-US" smtClean="0">
                <a:sym typeface="+mn-ea"/>
              </a:rPr>
              <a:t>为不合</a:t>
            </a:r>
            <a:r>
              <a:rPr lang="zh-CN" altLang="en-US">
                <a:sym typeface="+mn-ea"/>
              </a:rPr>
              <a:t>格产品。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DIAGRAM" val="2b751056-6b97-492c-b763-340acee7e99d"/>
</p:tagLst>
</file>

<file path=ppt/tags/tag4.xml><?xml version="1.0" encoding="utf-8"?>
<p:tagLst xmlns:p="http://schemas.openxmlformats.org/presentationml/2006/main">
  <p:tag name="ISLIDE.DIAGRAM" val="2b751056-6b97-492c-b763-340acee7e99d"/>
</p:tagLst>
</file>

<file path=ppt/tags/tag5.xml><?xml version="1.0" encoding="utf-8"?>
<p:tagLst xmlns:p="http://schemas.openxmlformats.org/presentationml/2006/main">
  <p:tag name="KSO_WM_UNIT_TABLE_BEAUTIFY" val="smartTable{78457289-9da7-402a-b676-ee3955e09c38}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1Smkff3fSzGMOuItfjj3Fw"/>
</p:tagLst>
</file>

<file path=ppt/tags/tag8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8d49a6e8-394e-45b1-ae85-9c8a0791038f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3499"/>
      </a:accent1>
      <a:accent2>
        <a:srgbClr val="003BB2"/>
      </a:accent2>
      <a:accent3>
        <a:srgbClr val="0089E2"/>
      </a:accent3>
      <a:accent4>
        <a:srgbClr val="FFAB35"/>
      </a:accent4>
      <a:accent5>
        <a:srgbClr val="8E8D88"/>
      </a:accent5>
      <a:accent6>
        <a:srgbClr val="ACACAC"/>
      </a:accent6>
      <a:hlink>
        <a:srgbClr val="016CA2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0</TotalTime>
  <Words>2732</Words>
  <Application>WPS 演示</Application>
  <PresentationFormat>自定义</PresentationFormat>
  <Paragraphs>274</Paragraphs>
  <Slides>2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20</vt:i4>
      </vt:variant>
    </vt:vector>
  </HeadingPairs>
  <TitlesOfParts>
    <vt:vector size="29" baseType="lpstr">
      <vt:lpstr>Arial</vt:lpstr>
      <vt:lpstr>宋体</vt:lpstr>
      <vt:lpstr>Wingdings</vt:lpstr>
      <vt:lpstr>Impact</vt:lpstr>
      <vt:lpstr>微软雅黑</vt:lpstr>
      <vt:lpstr>黑体</vt:lpstr>
      <vt:lpstr>Arial Unicode MS</vt:lpstr>
      <vt:lpstr>Calibri</vt:lpstr>
      <vt:lpstr>主题5</vt:lpstr>
      <vt:lpstr> 博世工业大数据质量预测赛</vt:lpstr>
      <vt:lpstr>PowerPoint 演示文稿</vt:lpstr>
      <vt:lpstr>PowerPoint 演示文稿</vt:lpstr>
      <vt:lpstr>问题简述</vt:lpstr>
      <vt:lpstr>问题简述</vt:lpstr>
      <vt:lpstr>数据探索</vt:lpstr>
      <vt:lpstr>数据探索</vt:lpstr>
      <vt:lpstr>数据探索</vt:lpstr>
      <vt:lpstr>数据探索</vt:lpstr>
      <vt:lpstr>特征工程</vt:lpstr>
      <vt:lpstr>特征工程</vt:lpstr>
      <vt:lpstr>特征工程</vt:lpstr>
      <vt:lpstr>特征工程</vt:lpstr>
      <vt:lpstr>特征工程</vt:lpstr>
      <vt:lpstr>特征工程</vt:lpstr>
      <vt:lpstr>模型构建</vt:lpstr>
      <vt:lpstr>模型构建</vt:lpstr>
      <vt:lpstr>结果和总结</vt:lpstr>
      <vt:lpstr>结果和总结</vt:lpstr>
      <vt:lpstr>thanks!</vt:lpstr>
    </vt:vector>
  </TitlesOfParts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</dc:title>
  <dc:creator>李 小步</dc:creator>
  <cp:lastModifiedBy>贾克鱿鱼丝</cp:lastModifiedBy>
  <cp:revision>192</cp:revision>
  <cp:lastPrinted>2019-07-31T16:00:00Z</cp:lastPrinted>
  <dcterms:created xsi:type="dcterms:W3CDTF">2020-03-05T02:56:00Z</dcterms:created>
  <dcterms:modified xsi:type="dcterms:W3CDTF">2020-05-27T07:1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662</vt:lpwstr>
  </property>
</Properties>
</file>